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78"/>
  </p:notesMasterIdLst>
  <p:sldIdLst>
    <p:sldId id="275" r:id="rId2"/>
    <p:sldId id="272" r:id="rId3"/>
    <p:sldId id="287" r:id="rId4"/>
    <p:sldId id="309" r:id="rId5"/>
    <p:sldId id="313" r:id="rId6"/>
    <p:sldId id="315" r:id="rId7"/>
    <p:sldId id="288" r:id="rId8"/>
    <p:sldId id="317" r:id="rId9"/>
    <p:sldId id="314" r:id="rId10"/>
    <p:sldId id="290" r:id="rId11"/>
    <p:sldId id="310" r:id="rId12"/>
    <p:sldId id="291" r:id="rId13"/>
    <p:sldId id="311" r:id="rId14"/>
    <p:sldId id="282" r:id="rId15"/>
    <p:sldId id="283" r:id="rId16"/>
    <p:sldId id="324" r:id="rId17"/>
    <p:sldId id="284" r:id="rId18"/>
    <p:sldId id="285" r:id="rId19"/>
    <p:sldId id="286" r:id="rId20"/>
    <p:sldId id="294" r:id="rId21"/>
    <p:sldId id="318" r:id="rId22"/>
    <p:sldId id="319" r:id="rId23"/>
    <p:sldId id="295" r:id="rId24"/>
    <p:sldId id="320" r:id="rId25"/>
    <p:sldId id="321" r:id="rId26"/>
    <p:sldId id="322" r:id="rId27"/>
    <p:sldId id="296" r:id="rId28"/>
    <p:sldId id="302" r:id="rId29"/>
    <p:sldId id="325" r:id="rId30"/>
    <p:sldId id="327" r:id="rId31"/>
    <p:sldId id="328" r:id="rId32"/>
    <p:sldId id="329" r:id="rId33"/>
    <p:sldId id="330" r:id="rId34"/>
    <p:sldId id="326" r:id="rId35"/>
    <p:sldId id="332" r:id="rId36"/>
    <p:sldId id="333" r:id="rId37"/>
    <p:sldId id="323" r:id="rId38"/>
    <p:sldId id="334" r:id="rId39"/>
    <p:sldId id="335" r:id="rId40"/>
    <p:sldId id="337" r:id="rId41"/>
    <p:sldId id="342" r:id="rId42"/>
    <p:sldId id="338" r:id="rId43"/>
    <p:sldId id="339" r:id="rId44"/>
    <p:sldId id="340" r:id="rId45"/>
    <p:sldId id="336" r:id="rId46"/>
    <p:sldId id="341" r:id="rId47"/>
    <p:sldId id="344" r:id="rId48"/>
    <p:sldId id="345" r:id="rId49"/>
    <p:sldId id="346" r:id="rId50"/>
    <p:sldId id="350" r:id="rId51"/>
    <p:sldId id="347" r:id="rId52"/>
    <p:sldId id="354" r:id="rId53"/>
    <p:sldId id="349" r:id="rId54"/>
    <p:sldId id="308" r:id="rId55"/>
    <p:sldId id="348" r:id="rId56"/>
    <p:sldId id="356" r:id="rId57"/>
    <p:sldId id="357" r:id="rId58"/>
    <p:sldId id="384" r:id="rId59"/>
    <p:sldId id="362" r:id="rId60"/>
    <p:sldId id="386" r:id="rId61"/>
    <p:sldId id="364" r:id="rId62"/>
    <p:sldId id="385" r:id="rId63"/>
    <p:sldId id="365" r:id="rId64"/>
    <p:sldId id="387" r:id="rId65"/>
    <p:sldId id="367" r:id="rId66"/>
    <p:sldId id="368" r:id="rId67"/>
    <p:sldId id="390" r:id="rId68"/>
    <p:sldId id="370" r:id="rId69"/>
    <p:sldId id="389" r:id="rId70"/>
    <p:sldId id="383" r:id="rId71"/>
    <p:sldId id="391" r:id="rId72"/>
    <p:sldId id="392" r:id="rId73"/>
    <p:sldId id="394" r:id="rId74"/>
    <p:sldId id="306" r:id="rId75"/>
    <p:sldId id="395" r:id="rId76"/>
    <p:sldId id="393" r:id="rId7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5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7" d="100"/>
          <a:sy n="67" d="100"/>
        </p:scale>
        <p:origin x="141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9" Type="http://schemas.microsoft.com/office/2015/10/relationships/revisionInfo" Target="revisionInfo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notesMaster" Target="notesMasters/notesMaster1.xml"/><Relationship Id="rId8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33ABA6-B72D-4ED4-A6E7-13A0DAE65F1A}" type="datetimeFigureOut">
              <a:rPr lang="en-US" smtClean="0"/>
              <a:t>7/2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C303B9-2C3E-4EA0-A819-58B20A5A84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0827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3605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5727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8224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9509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53678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4081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910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7/22/2018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046427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7001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7/22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653325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669344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7/22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607285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7/22/2018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4812236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7/22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0496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3619834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5230394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7/22/2018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0353837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7/22/2018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159791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789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gif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gif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gif"/><Relationship Id="rId2" Type="http://schemas.openxmlformats.org/officeDocument/2006/relationships/image" Target="../media/image29.gif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hyperlink" Target="http://people.duke.edu/~rnau/411arim.htm" TargetMode="External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23FF278-3A5B-44F8-9DCA-4293CA7C4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cast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0BA52E92-473C-4CB8-998E-1DCAAAC107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1BFFD1B-D36D-40D0-A49A-3132AB756C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0C8E71AB-0020-4F74-93A4-9D0EA5788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E05FF79E-1D78-423E-BA08-2C16C5541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9149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A2E8B3EC-A6EA-4A9A-BD50-A449FD12F7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71404D07-3084-4BF1-86CD-528694A3F9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hly Amtrak Ridershi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8BB0945-95C9-49F8-B9E6-A34EBFF69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B87E7B9-D417-40B8-BA6F-DE7BA6BD7E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8AB4C213-F430-4405-AF10-D519300841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0000" y="3809617"/>
            <a:ext cx="4972050" cy="2630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3238EDDF-C9E2-41DF-AAE5-8E0F2B87C33C}"/>
              </a:ext>
            </a:extLst>
          </p:cNvPr>
          <p:cNvSpPr txBox="1">
            <a:spLocks/>
          </p:cNvSpPr>
          <p:nvPr/>
        </p:nvSpPr>
        <p:spPr>
          <a:xfrm>
            <a:off x="762000" y="1752600"/>
            <a:ext cx="7772400" cy="16764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/>
              <a:t>Level - about 1,800,000 passengers per month</a:t>
            </a:r>
          </a:p>
          <a:p>
            <a:pPr>
              <a:buFont typeface="Wingdings 2" pitchFamily="18" charset="2"/>
              <a:buNone/>
            </a:pPr>
            <a:endParaRPr lang="en-US" b="1"/>
          </a:p>
          <a:p>
            <a:pPr>
              <a:buFont typeface="Wingdings 2" pitchFamily="18" charset="2"/>
              <a:buNone/>
            </a:pPr>
            <a:r>
              <a:rPr lang="en-US" b="1"/>
              <a:t>Appears to have U-shaped trend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337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dirty="0"/>
              <a:t>Level?</a:t>
            </a:r>
          </a:p>
          <a:p>
            <a:r>
              <a:rPr lang="en-US" dirty="0"/>
              <a:t>Trend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199" y="1439500"/>
            <a:ext cx="4955629" cy="4581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5425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Level</a:t>
            </a:r>
            <a:r>
              <a:rPr lang="en-US" dirty="0"/>
              <a:t>?</a:t>
            </a:r>
          </a:p>
          <a:p>
            <a:r>
              <a:rPr lang="en-US" dirty="0"/>
              <a:t>Trend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99079329-3AED-4937-A9A0-10ED9AC598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707"/>
          <a:stretch/>
        </p:blipFill>
        <p:spPr>
          <a:xfrm>
            <a:off x="434024" y="1284295"/>
            <a:ext cx="5189851" cy="474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4180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dirty="0"/>
              <a:t>Level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Trend</a:t>
            </a:r>
            <a:r>
              <a:rPr lang="en-US" dirty="0"/>
              <a:t>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199" y="1439500"/>
            <a:ext cx="4955629" cy="4581619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xmlns="" id="{AE6B1A81-D206-4C60-A13A-401B148C6F40}"/>
              </a:ext>
            </a:extLst>
          </p:cNvPr>
          <p:cNvCxnSpPr/>
          <p:nvPr/>
        </p:nvCxnSpPr>
        <p:spPr>
          <a:xfrm>
            <a:off x="1430448" y="2924269"/>
            <a:ext cx="1702051" cy="1484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xmlns="" id="{5324CA85-364D-4FE3-A5DF-7C92F07D1214}"/>
              </a:ext>
            </a:extLst>
          </p:cNvPr>
          <p:cNvCxnSpPr/>
          <p:nvPr/>
        </p:nvCxnSpPr>
        <p:spPr>
          <a:xfrm flipV="1">
            <a:off x="3268301" y="2534970"/>
            <a:ext cx="2190939" cy="17563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10300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oom to 3 years (1997-1999)</a:t>
            </a:r>
          </a:p>
        </p:txBody>
      </p:sp>
      <p:sp>
        <p:nvSpPr>
          <p:cNvPr id="12291" name="Content Placeholder 3"/>
          <p:cNvSpPr>
            <a:spLocks noGrp="1"/>
          </p:cNvSpPr>
          <p:nvPr>
            <p:ph sz="quarter" idx="1"/>
          </p:nvPr>
        </p:nvSpPr>
        <p:spPr>
          <a:xfrm>
            <a:off x="914400" y="1981200"/>
            <a:ext cx="7772400" cy="40386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/>
              <a:t>Seasonality* appears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Each year traffic peaks in summer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Noise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Departure from the general level that is neither trend nor </a:t>
            </a:r>
            <a:r>
              <a:rPr lang="en-US" dirty="0" smtClean="0"/>
              <a:t>seasonality</a:t>
            </a:r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Put another way, if you add the seasonal, trend and level values, the difference is the “noise” 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dirty="0"/>
              <a:t>* </a:t>
            </a:r>
            <a:r>
              <a:rPr lang="en-US" sz="2000" dirty="0"/>
              <a:t>Don’t confuse the time series term </a:t>
            </a:r>
            <a:r>
              <a:rPr lang="en-US" dirty="0"/>
              <a:t>“</a:t>
            </a:r>
            <a:r>
              <a:rPr lang="en-US" sz="2000" dirty="0"/>
              <a:t>season,” which is the period over which a cyclical pattern repeats (e.g. a year), with the standard English seasons of the year (fall, winter, etc.)</a:t>
            </a:r>
          </a:p>
        </p:txBody>
      </p:sp>
    </p:spTree>
    <p:extLst>
      <p:ext uri="{BB962C8B-B14F-4D97-AF65-F5344CB8AC3E}">
        <p14:creationId xmlns:p14="http://schemas.microsoft.com/office/powerpoint/2010/main" val="30071039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xmlns="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3" name="Oval 2">
              <a:extLst>
                <a:ext uri="{FF2B5EF4-FFF2-40B4-BE49-F238E27FC236}">
                  <a16:creationId xmlns:a16="http://schemas.microsoft.com/office/drawing/2014/main" xmlns="" id="{4D11CEEC-FA26-4A6F-8495-0972C5118DCA}"/>
                </a:ext>
              </a:extLst>
            </p:cNvPr>
            <p:cNvSpPr/>
            <p:nvPr/>
          </p:nvSpPr>
          <p:spPr>
            <a:xfrm>
              <a:off x="453793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xmlns="" id="{2ACB0B4D-22F3-4F5C-8250-3471DC522CAA}"/>
                </a:ext>
              </a:extLst>
            </p:cNvPr>
            <p:cNvSpPr/>
            <p:nvPr/>
          </p:nvSpPr>
          <p:spPr>
            <a:xfrm>
              <a:off x="2656587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xmlns="" id="{75E2F94F-6FB8-42DE-B256-73C9C45C50FA}"/>
                </a:ext>
              </a:extLst>
            </p:cNvPr>
            <p:cNvSpPr/>
            <p:nvPr/>
          </p:nvSpPr>
          <p:spPr>
            <a:xfrm>
              <a:off x="4924696" y="3882429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xmlns="" id="{452D27B2-1D9E-441F-BDC5-3DD825C7C45E}"/>
                </a:ext>
              </a:extLst>
            </p:cNvPr>
            <p:cNvSpPr/>
            <p:nvPr/>
          </p:nvSpPr>
          <p:spPr>
            <a:xfrm>
              <a:off x="723888" y="2525917"/>
              <a:ext cx="1332368" cy="805758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xmlns="" id="{52286D24-7939-45C7-A62F-4615E026705B}"/>
                </a:ext>
              </a:extLst>
            </p:cNvPr>
            <p:cNvSpPr/>
            <p:nvPr/>
          </p:nvSpPr>
          <p:spPr>
            <a:xfrm>
              <a:off x="3031013" y="1765426"/>
              <a:ext cx="1252396" cy="1099996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Decline </a:t>
            </a:r>
            <a:r>
              <a:rPr lang="en-US" dirty="0"/>
              <a:t>in </a:t>
            </a:r>
            <a:r>
              <a:rPr lang="en-US" dirty="0" smtClean="0"/>
              <a:t>Jan/Feb</a:t>
            </a:r>
            <a:endParaRPr lang="en-US" dirty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Increase in </a:t>
            </a:r>
            <a:r>
              <a:rPr lang="en-US" dirty="0" smtClean="0"/>
              <a:t>Mar</a:t>
            </a:r>
            <a:endParaRPr lang="en-US" dirty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Sustained increase until Aug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Zoom to 3 years (1997-1999)</a:t>
            </a:r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65789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1_amtrak.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4198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chine Learning Partitioning</a:t>
            </a:r>
            <a:r>
              <a:rPr lang="en-US" dirty="0"/>
              <a:t>	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sz="quarter" idx="1"/>
          </p:nvPr>
        </p:nvSpPr>
        <p:spPr>
          <a:xfrm>
            <a:off x="685800" y="1114420"/>
            <a:ext cx="7772400" cy="685805"/>
          </a:xfrm>
        </p:spPr>
        <p:txBody>
          <a:bodyPr>
            <a:normAutofit fontScale="92500" lnSpcReduction="10000"/>
          </a:bodyPr>
          <a:lstStyle/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</a:t>
            </a:r>
            <a:r>
              <a:rPr lang="en-US" dirty="0" smtClean="0"/>
              <a:t>portion</a:t>
            </a: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validation </a:t>
            </a:r>
            <a:r>
              <a:rPr lang="en-US" dirty="0" smtClean="0"/>
              <a:t>portion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4" name="Flowchart: Magnetic Disk 3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Flowchart: Magnetic Disk 4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Flowchart: Magnetic Disk 5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Flowchart: Magnetic Disk 6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All Data</a:t>
              </a:r>
              <a:endParaRPr lang="en-US" dirty="0"/>
            </a:p>
          </p:txBody>
        </p:sp>
        <p:sp>
          <p:nvSpPr>
            <p:cNvPr id="15" name="Isosceles Triangle 14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Flowchart: Magnetic Disk 17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Training Data</a:t>
              </a:r>
              <a:endParaRPr lang="en-US" dirty="0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Test Data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73038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Partitioning </a:t>
            </a:r>
            <a:r>
              <a:rPr lang="en-US" dirty="0"/>
              <a:t>is not random</a:t>
            </a:r>
          </a:p>
        </p:txBody>
      </p:sp>
      <p:sp>
        <p:nvSpPr>
          <p:cNvPr id="15363" name="Content Placeholder 2"/>
          <p:cNvSpPr>
            <a:spLocks noGrp="1"/>
          </p:cNvSpPr>
          <p:nvPr>
            <p:ph sz="quarter" idx="1"/>
          </p:nvPr>
        </p:nvSpPr>
        <p:spPr>
          <a:xfrm>
            <a:off x="628650" y="1111347"/>
            <a:ext cx="7886700" cy="3303491"/>
          </a:xfrm>
        </p:spPr>
        <p:txBody>
          <a:bodyPr>
            <a:normAutofit/>
          </a:bodyPr>
          <a:lstStyle/>
          <a:p>
            <a:r>
              <a:rPr lang="en-US" sz="2000" b="1" dirty="0"/>
              <a:t>Random partitioning would leave holes in the data, which causes problem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Forecasting methods assume regular sequential data</a:t>
            </a:r>
          </a:p>
          <a:p>
            <a:r>
              <a:rPr lang="en-US" sz="2000" b="1" dirty="0" smtClean="0"/>
              <a:t>Instead </a:t>
            </a:r>
            <a:r>
              <a:rPr lang="en-US" sz="2000" b="1" dirty="0"/>
              <a:t>of random selection, divide data into two part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Train on early data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Validate on later </a:t>
            </a:r>
            <a:r>
              <a:rPr lang="en-US" sz="1600" dirty="0" smtClean="0"/>
              <a:t>data</a:t>
            </a:r>
          </a:p>
          <a:p>
            <a:pPr marL="114300" lvl="1" indent="-114300"/>
            <a:r>
              <a:rPr lang="en-US" sz="2000" b="1" dirty="0"/>
              <a:t>Performance can be assessed against the “naïve benchmark” </a:t>
            </a:r>
            <a:r>
              <a:rPr lang="en-US" sz="2000" b="1" dirty="0" smtClean="0"/>
              <a:t>&amp; historical </a:t>
            </a:r>
            <a:r>
              <a:rPr lang="en-US" sz="2000" b="1" dirty="0"/>
              <a:t>accuracy </a:t>
            </a:r>
            <a:r>
              <a:rPr lang="en-US" sz="1600" dirty="0" smtClean="0"/>
              <a:t> </a:t>
            </a:r>
            <a:r>
              <a:rPr lang="en-US" sz="1600" i="1" dirty="0"/>
              <a:t>naïve forecast </a:t>
            </a:r>
            <a:r>
              <a:rPr lang="en-US" sz="1600" dirty="0"/>
              <a:t>is simply the most recent value in the time series </a:t>
            </a:r>
          </a:p>
          <a:p>
            <a:pPr lvl="1">
              <a:buFont typeface="Wingdings 2" pitchFamily="18" charset="2"/>
              <a:buNone/>
            </a:pPr>
            <a:endParaRPr lang="en-US" sz="1600" dirty="0" smtClean="0"/>
          </a:p>
        </p:txBody>
      </p:sp>
      <p:grpSp>
        <p:nvGrpSpPr>
          <p:cNvPr id="7" name="Group 6"/>
          <p:cNvGrpSpPr/>
          <p:nvPr/>
        </p:nvGrpSpPr>
        <p:grpSpPr>
          <a:xfrm>
            <a:off x="742950" y="3914753"/>
            <a:ext cx="7562850" cy="1276350"/>
            <a:chOff x="742950" y="4371968"/>
            <a:chExt cx="7562850" cy="1276350"/>
          </a:xfrm>
        </p:grpSpPr>
        <p:sp>
          <p:nvSpPr>
            <p:cNvPr id="2" name="Right Arrow 1"/>
            <p:cNvSpPr/>
            <p:nvPr/>
          </p:nvSpPr>
          <p:spPr>
            <a:xfrm>
              <a:off x="742950" y="4371968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Temporal Data Points</a:t>
              </a:r>
              <a:endParaRPr lang="en-US" dirty="0"/>
            </a:p>
          </p:txBody>
        </p:sp>
        <p:sp>
          <p:nvSpPr>
            <p:cNvPr id="5" name="Right Arrow 4"/>
            <p:cNvSpPr/>
            <p:nvPr/>
          </p:nvSpPr>
          <p:spPr>
            <a:xfrm>
              <a:off x="742950" y="5053005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Training Data</a:t>
              </a:r>
              <a:endParaRPr lang="en-US" dirty="0"/>
            </a:p>
          </p:txBody>
        </p:sp>
        <p:sp>
          <p:nvSpPr>
            <p:cNvPr id="6" name="Right Arrow 5"/>
            <p:cNvSpPr/>
            <p:nvPr/>
          </p:nvSpPr>
          <p:spPr>
            <a:xfrm>
              <a:off x="5757863" y="5062530"/>
              <a:ext cx="2547937" cy="585788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Validation</a:t>
              </a:r>
              <a:endParaRPr lang="en-US" dirty="0"/>
            </a:p>
          </p:txBody>
        </p:sp>
        <p:sp>
          <p:nvSpPr>
            <p:cNvPr id="3" name="Isosceles Triangle 2"/>
            <p:cNvSpPr/>
            <p:nvPr/>
          </p:nvSpPr>
          <p:spPr>
            <a:xfrm rot="10800000">
              <a:off x="3569494" y="4872037"/>
              <a:ext cx="1400175" cy="271463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Rectangle 3"/>
          <p:cNvSpPr/>
          <p:nvPr/>
        </p:nvSpPr>
        <p:spPr>
          <a:xfrm>
            <a:off x="785813" y="5743574"/>
            <a:ext cx="7572375" cy="3857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ub-setting data with regard to time is called “out of time” sampling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6969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	</a:t>
            </a:r>
          </a:p>
        </p:txBody>
      </p:sp>
      <p:sp>
        <p:nvSpPr>
          <p:cNvPr id="16387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2057400"/>
            <a:ext cx="7772400" cy="39624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/>
              <a:t>Focus is to predict (not describe/explain)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Four components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Level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Trend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Seasonality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Noise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Partition data by dividing into early/late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6616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16107931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accent1"/>
                          </a:solidFill>
                        </a:rPr>
                        <a:t>Forecastin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Method 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Method 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Method 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Workforce Planning Examp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2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7636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89" name="Picture 2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2" t="8288" r="3645" b="2832"/>
          <a:stretch/>
        </p:blipFill>
        <p:spPr bwMode="auto">
          <a:xfrm>
            <a:off x="152400" y="2019299"/>
            <a:ext cx="4419600" cy="433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75" y="365126"/>
            <a:ext cx="8843963" cy="591477"/>
          </a:xfrm>
        </p:spPr>
        <p:txBody>
          <a:bodyPr/>
          <a:lstStyle/>
          <a:p>
            <a:r>
              <a:rPr lang="en-US" sz="3200" dirty="0" smtClean="0"/>
              <a:t>What types of business problems can be forecasted?</a:t>
            </a:r>
            <a:endParaRPr lang="en-US" sz="3200" dirty="0"/>
          </a:p>
        </p:txBody>
      </p:sp>
      <p:sp>
        <p:nvSpPr>
          <p:cNvPr id="4" name="Isosceles Triangle 3"/>
          <p:cNvSpPr/>
          <p:nvPr/>
        </p:nvSpPr>
        <p:spPr>
          <a:xfrm rot="5400000">
            <a:off x="4221196" y="3449670"/>
            <a:ext cx="1447800" cy="498542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271463" y="1243013"/>
            <a:ext cx="8415337" cy="71436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e will </a:t>
            </a:r>
            <a:r>
              <a:rPr lang="en-US" dirty="0">
                <a:solidFill>
                  <a:schemeClr val="bg1"/>
                </a:solidFill>
              </a:rPr>
              <a:t>cover a set of common </a:t>
            </a:r>
            <a:r>
              <a:rPr lang="en-US" dirty="0" smtClean="0">
                <a:solidFill>
                  <a:schemeClr val="bg1"/>
                </a:solidFill>
              </a:rPr>
              <a:t>forecasting tools </a:t>
            </a:r>
            <a:r>
              <a:rPr lang="en-US" dirty="0">
                <a:solidFill>
                  <a:schemeClr val="bg1"/>
                </a:solidFill>
              </a:rPr>
              <a:t>to make </a:t>
            </a:r>
            <a:r>
              <a:rPr lang="en-US" dirty="0" smtClean="0">
                <a:solidFill>
                  <a:schemeClr val="bg1"/>
                </a:solidFill>
              </a:rPr>
              <a:t>predictions.   </a:t>
            </a:r>
            <a:r>
              <a:rPr lang="en-US" dirty="0">
                <a:solidFill>
                  <a:schemeClr val="bg1"/>
                </a:solidFill>
              </a:rPr>
              <a:t>The goal is to create accurate future values and provide ranges of accuracy in real contexts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429251" y="2128847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mazon’s Quarterly Revenue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472113" y="3014663"/>
            <a:ext cx="338613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Black is the actual through 2013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Red is the fit and after the dateline, the best fit-forecast.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Blue represents confidence interva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6734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89" name="Picture 2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2" t="8288" r="3645" b="2832"/>
          <a:stretch/>
        </p:blipFill>
        <p:spPr bwMode="auto">
          <a:xfrm>
            <a:off x="152400" y="2019299"/>
            <a:ext cx="4419600" cy="433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75" y="365126"/>
            <a:ext cx="8843963" cy="591477"/>
          </a:xfrm>
        </p:spPr>
        <p:txBody>
          <a:bodyPr/>
          <a:lstStyle/>
          <a:p>
            <a:r>
              <a:rPr lang="en-US" sz="3200" dirty="0" smtClean="0"/>
              <a:t>What types of business problems can be forecasted?</a:t>
            </a:r>
            <a:endParaRPr lang="en-US" sz="3200" dirty="0"/>
          </a:p>
        </p:txBody>
      </p:sp>
      <p:sp>
        <p:nvSpPr>
          <p:cNvPr id="10" name="Rectangle 9"/>
          <p:cNvSpPr/>
          <p:nvPr/>
        </p:nvSpPr>
        <p:spPr>
          <a:xfrm>
            <a:off x="271463" y="1243013"/>
            <a:ext cx="8415337" cy="50006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Besides revenue, where else would a forecast benefit a company?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4929188" y="2043107"/>
            <a:ext cx="0" cy="40005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5429251" y="2128847"/>
            <a:ext cx="3171825" cy="5429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orecasting has become more widespread in business.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5429251" y="2857500"/>
            <a:ext cx="32575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upply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a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roduct life cy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all cen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0650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1_getRevenueData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488853"/>
          </a:xfrm>
        </p:spPr>
        <p:txBody>
          <a:bodyPr/>
          <a:lstStyle/>
          <a:p>
            <a:r>
              <a:rPr lang="en-US" dirty="0" smtClean="0"/>
              <a:t>Let’s grab a time serie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5529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specting meta </a:t>
            </a:r>
            <a:r>
              <a:rPr lang="en-US" dirty="0"/>
              <a:t>data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71463" y="1171573"/>
            <a:ext cx="8415337" cy="71436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Based on the stock you chose, what meta data did you observe? 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</a:rPr>
              <a:t> Trend? Level? Seasonal or seemingly random noise?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5788" y="2185987"/>
            <a:ext cx="3319462" cy="263843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86350" y="2224090"/>
            <a:ext cx="3300413" cy="263431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Rectangle 15"/>
          <p:cNvSpPr/>
          <p:nvPr/>
        </p:nvSpPr>
        <p:spPr>
          <a:xfrm>
            <a:off x="152401" y="5414963"/>
            <a:ext cx="8415337" cy="8286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</a:t>
            </a:r>
            <a:r>
              <a:rPr lang="en-US" dirty="0" smtClean="0">
                <a:solidFill>
                  <a:schemeClr val="bg1"/>
                </a:solidFill>
              </a:rPr>
              <a:t>orecasting </a:t>
            </a:r>
            <a:r>
              <a:rPr lang="en-US" dirty="0">
                <a:solidFill>
                  <a:schemeClr val="bg1"/>
                </a:solidFill>
              </a:rPr>
              <a:t>starts with using visualizing to understand </a:t>
            </a:r>
            <a:r>
              <a:rPr lang="en-US" u="sng" dirty="0">
                <a:solidFill>
                  <a:schemeClr val="bg1"/>
                </a:solidFill>
              </a:rPr>
              <a:t>“</a:t>
            </a:r>
            <a:r>
              <a:rPr lang="en-US" u="sng" dirty="0" smtClean="0">
                <a:solidFill>
                  <a:schemeClr val="bg1"/>
                </a:solidFill>
              </a:rPr>
              <a:t>metadata”</a:t>
            </a:r>
            <a:r>
              <a:rPr lang="en-US" dirty="0" smtClean="0">
                <a:solidFill>
                  <a:schemeClr val="bg1"/>
                </a:solidFill>
              </a:rPr>
              <a:t>.  </a:t>
            </a:r>
            <a:endParaRPr lang="en-US" dirty="0">
              <a:solidFill>
                <a:schemeClr val="bg1"/>
              </a:solidFill>
            </a:endParaRP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*In many instances we do not know the causal inputs or have data readily available </a:t>
            </a:r>
            <a:r>
              <a:rPr lang="en-US" sz="1200" dirty="0" smtClean="0">
                <a:solidFill>
                  <a:schemeClr val="bg1"/>
                </a:solidFill>
              </a:rPr>
              <a:t>to explain what we observe.</a:t>
            </a:r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71692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pecting meta data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64332" y="1128709"/>
            <a:ext cx="8415337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hat is the meta data for CVS?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85913" y="1557336"/>
            <a:ext cx="5314950" cy="422452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Rectangle 15"/>
          <p:cNvSpPr/>
          <p:nvPr/>
        </p:nvSpPr>
        <p:spPr>
          <a:xfrm>
            <a:off x="364332" y="5857873"/>
            <a:ext cx="8415337" cy="4810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Does the meta data exhibit a discernable pattern?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Do you think historical values are a basis for future values? </a:t>
            </a:r>
          </a:p>
        </p:txBody>
      </p:sp>
    </p:spTree>
    <p:extLst>
      <p:ext uri="{BB962C8B-B14F-4D97-AF65-F5344CB8AC3E}">
        <p14:creationId xmlns:p14="http://schemas.microsoft.com/office/powerpoint/2010/main" val="3295584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07381" y="1552578"/>
            <a:ext cx="5329238" cy="4253676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pecting meta data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64332" y="1128709"/>
            <a:ext cx="8415337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hat is the meta data for AMZN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64332" y="5857873"/>
            <a:ext cx="8415337" cy="4810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Does the meta data exhibit a discernable pattern?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Do you think historical values are a basis for future values? </a:t>
            </a:r>
          </a:p>
        </p:txBody>
      </p:sp>
    </p:spTree>
    <p:extLst>
      <p:ext uri="{BB962C8B-B14F-4D97-AF65-F5344CB8AC3E}">
        <p14:creationId xmlns:p14="http://schemas.microsoft.com/office/powerpoint/2010/main" val="2318282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67598078"/>
              </p:ext>
            </p:extLst>
          </p:nvPr>
        </p:nvGraphicFramePr>
        <p:xfrm>
          <a:off x="614363" y="1111250"/>
          <a:ext cx="7915275" cy="34747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ecastin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Break</a:t>
                      </a:r>
                      <a:endParaRPr lang="en-US" sz="2000" b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Naïve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me Series Decomposition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Break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/>
                        <a:t>Workforce Planning Example</a:t>
                      </a:r>
                    </a:p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2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847481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</a:t>
            </a:r>
            <a:r>
              <a:rPr lang="en-US" dirty="0" smtClean="0"/>
              <a:t> Common Methods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200026" y="1128709"/>
            <a:ext cx="8815388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e will cover 5 common methods to forecasting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14312" y="1643058"/>
            <a:ext cx="164592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aive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2057400" y="1643058"/>
            <a:ext cx="164592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olt Winters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3900488" y="1643058"/>
            <a:ext cx="164592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SD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5743576" y="1643058"/>
            <a:ext cx="164592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RIMA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7586661" y="1643058"/>
            <a:ext cx="146304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inear Modeling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14312" y="2619375"/>
            <a:ext cx="16459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Most comm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Easy/Fast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Usually not very 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2018579" y="2619375"/>
            <a:ext cx="16459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Exponential Smooth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/Seasonality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787286" y="2619375"/>
            <a:ext cx="164592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ith trends/trend reversal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ith noisy serie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/Seasonality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”black box”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1958816" y="2519363"/>
            <a:ext cx="0" cy="3871912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3801904" y="2519363"/>
            <a:ext cx="0" cy="3871912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5644992" y="2519363"/>
            <a:ext cx="0" cy="3871912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7488080" y="2519363"/>
            <a:ext cx="0" cy="3871912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885477" y="2619375"/>
            <a:ext cx="164592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Decomposes into meta-data component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for de-seasoning &amp; investigat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Not really forecasting futur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482732" y="2619375"/>
            <a:ext cx="16459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Essentially linear regressi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Requires additional data manipulation &amp; effo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815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4 Methods of Naïve Forecasting</a:t>
            </a:r>
            <a:endParaRPr lang="en-US" dirty="0"/>
          </a:p>
        </p:txBody>
      </p:sp>
      <p:pic>
        <p:nvPicPr>
          <p:cNvPr id="24582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673" y="1275276"/>
            <a:ext cx="244928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3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1275276"/>
            <a:ext cx="2441259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4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956" y="3766063"/>
            <a:ext cx="243156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5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3685101"/>
            <a:ext cx="2397904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360516" y="1438272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360515" y="3781422"/>
            <a:ext cx="11464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easonal</a:t>
            </a:r>
          </a:p>
          <a:p>
            <a:r>
              <a:rPr lang="en-US" dirty="0"/>
              <a:t>Naïv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01522" y="1438272"/>
            <a:ext cx="787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aïv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701522" y="3919921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rift</a:t>
            </a:r>
          </a:p>
        </p:txBody>
      </p:sp>
    </p:spTree>
    <p:extLst>
      <p:ext uri="{BB962C8B-B14F-4D97-AF65-F5344CB8AC3E}">
        <p14:creationId xmlns:p14="http://schemas.microsoft.com/office/powerpoint/2010/main" val="202410643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- Mea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588" y="1610438"/>
            <a:ext cx="5210937" cy="436876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Takes the mean for the series and repeats as future forecasts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10783" y="3152129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10783" y="3757685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4765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CA79CF12-30E2-42AE-B34C-9BC94FEBF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1D84C2A-4276-4290-A121-0469B8157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CF45EE8-995A-4EDF-98B2-876D4AB98F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xmlns="" id="{0F99D124-A478-4855-982C-0F6EAD9A487E}"/>
              </a:ext>
            </a:extLst>
          </p:cNvPr>
          <p:cNvSpPr txBox="1">
            <a:spLocks/>
          </p:cNvSpPr>
          <p:nvPr/>
        </p:nvSpPr>
        <p:spPr>
          <a:xfrm>
            <a:off x="914400" y="1676400"/>
            <a:ext cx="7772400" cy="43434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orecast future values of a time series</a:t>
            </a:r>
          </a:p>
          <a:p>
            <a:r>
              <a:rPr lang="en-US" dirty="0"/>
              <a:t>Distinction between forecasting (main focus) and describing/explaining</a:t>
            </a:r>
          </a:p>
          <a:p>
            <a:r>
              <a:rPr lang="en-US" dirty="0"/>
              <a:t>Before forecasting understand “periodicity”</a:t>
            </a:r>
          </a:p>
          <a:p>
            <a:r>
              <a:rPr lang="en-US" dirty="0"/>
              <a:t>Four components of time series (meta-data):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Level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Trend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Seasonality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Noise</a:t>
            </a:r>
          </a:p>
          <a:p>
            <a:pPr>
              <a:buFont typeface="Arial" charset="0"/>
              <a:buChar char="•"/>
            </a:pPr>
            <a:r>
              <a:rPr lang="en-US" dirty="0"/>
              <a:t>Time series data is great for enrichment and engineering e.g. “event flags” but can be modeled as a standalone vector due to the meta data </a:t>
            </a:r>
            <a:r>
              <a:rPr lang="en-US" i="1" dirty="0"/>
              <a:t>“inside” </a:t>
            </a:r>
            <a:r>
              <a:rPr lang="en-US" dirty="0"/>
              <a:t>the vector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CF693E49-70BD-4C3F-A7E3-57DB09DE4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in ideas</a:t>
            </a:r>
          </a:p>
        </p:txBody>
      </p:sp>
    </p:spTree>
    <p:extLst>
      <p:ext uri="{BB962C8B-B14F-4D97-AF65-F5344CB8AC3E}">
        <p14:creationId xmlns:p14="http://schemas.microsoft.com/office/powerpoint/2010/main" val="34293699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726" y="1610435"/>
            <a:ext cx="5208799" cy="4366973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- Drif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10782" y="1992574"/>
            <a:ext cx="2861767" cy="1477328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</a:t>
            </a:r>
            <a:r>
              <a:rPr lang="en-US" dirty="0" smtClean="0"/>
              <a:t>average change in data starting with last value.</a:t>
            </a:r>
            <a:endParaRPr lang="en-US" dirty="0"/>
          </a:p>
          <a:p>
            <a:r>
              <a:rPr lang="en-US" dirty="0"/>
              <a:t>Good if </a:t>
            </a:r>
            <a:r>
              <a:rPr lang="en-US" dirty="0" smtClean="0"/>
              <a:t>trend but no seasonality.  Extends from last point in cycle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10782" y="3553033"/>
            <a:ext cx="2876055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10783" y="4044289"/>
            <a:ext cx="2904630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89938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Drif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03959" y="1992574"/>
            <a:ext cx="2647666" cy="1200329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Now notice the drift now comes from the lower point in the cycle this time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03959" y="3384144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More accurate than mean with strong trend.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03959" y="4262655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Accuracy hurt by seasonality.</a:t>
            </a:r>
            <a:endParaRPr lang="en-US" dirty="0"/>
          </a:p>
        </p:txBody>
      </p:sp>
      <p:pic>
        <p:nvPicPr>
          <p:cNvPr id="11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570" y="1597001"/>
            <a:ext cx="4928406" cy="46984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Isosceles Triangle 2"/>
          <p:cNvSpPr/>
          <p:nvPr/>
        </p:nvSpPr>
        <p:spPr>
          <a:xfrm rot="5400000">
            <a:off x="3364174" y="3650777"/>
            <a:ext cx="4599296" cy="54591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93085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9493"/>
            <a:ext cx="5380095" cy="4510585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– Naïve (true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last value as future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51727" y="275634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92670" y="3457436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34839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3632"/>
            <a:ext cx="5381864" cy="4512067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– Naïve Seasona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1200329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</a:t>
            </a:r>
            <a:r>
              <a:rPr lang="en-US" dirty="0" smtClean="0"/>
              <a:t>last corresponding seasonal values in a repeating pattern.  Good if no trend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10783" y="3438733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10783" y="4044289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961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/>
        </p:nvGrpSpPr>
        <p:grpSpPr>
          <a:xfrm>
            <a:off x="3514721" y="3798725"/>
            <a:ext cx="4900655" cy="2748853"/>
            <a:chOff x="3979942" y="3412955"/>
            <a:chExt cx="4900655" cy="2748853"/>
          </a:xfrm>
        </p:grpSpPr>
        <p:pic>
          <p:nvPicPr>
            <p:cNvPr id="18437" name="Picture 5" descr="Image result for normal distribution curve transparent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1665" y="3980582"/>
              <a:ext cx="4638675" cy="21812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" name="Straight Arrow Connector 15"/>
            <p:cNvCxnSpPr/>
            <p:nvPr/>
          </p:nvCxnSpPr>
          <p:spPr>
            <a:xfrm flipV="1">
              <a:off x="4217880" y="4089242"/>
              <a:ext cx="0" cy="164592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 rot="16200000">
              <a:off x="3700923" y="4891063"/>
              <a:ext cx="83503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Frequency</a:t>
              </a:r>
              <a:endParaRPr lang="en-US" sz="1200" dirty="0"/>
            </a:p>
          </p:txBody>
        </p:sp>
        <p:cxnSp>
          <p:nvCxnSpPr>
            <p:cNvPr id="19" name="Straight Arrow Connector 18"/>
            <p:cNvCxnSpPr/>
            <p:nvPr/>
          </p:nvCxnSpPr>
          <p:spPr>
            <a:xfrm>
              <a:off x="4217157" y="5717621"/>
              <a:ext cx="4663440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6172723" y="5724699"/>
              <a:ext cx="58964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Values</a:t>
              </a:r>
              <a:endParaRPr lang="en-US" sz="1200" dirty="0"/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 flipV="1">
              <a:off x="6388768" y="3581398"/>
              <a:ext cx="1215191" cy="21656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7543800" y="3412955"/>
              <a:ext cx="128753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Mu:</a:t>
              </a:r>
            </a:p>
            <a:p>
              <a:r>
                <a:rPr lang="en-US" sz="1200" dirty="0" err="1" smtClean="0"/>
                <a:t>Avg</a:t>
              </a:r>
              <a:r>
                <a:rPr lang="en-US" sz="1200" dirty="0" smtClean="0"/>
                <a:t> of population</a:t>
              </a:r>
              <a:endParaRPr lang="en-US" sz="12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ded Forecast Area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l="75705" t="13454" r="5640" b="53169"/>
          <a:stretch/>
        </p:blipFill>
        <p:spPr>
          <a:xfrm>
            <a:off x="423081" y="1296530"/>
            <a:ext cx="2361062" cy="4639049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3" name="TextBox 2"/>
          <p:cNvSpPr txBox="1"/>
          <p:nvPr/>
        </p:nvSpPr>
        <p:spPr>
          <a:xfrm>
            <a:off x="3491911" y="1146406"/>
            <a:ext cx="5567422" cy="369332"/>
          </a:xfrm>
          <a:prstGeom prst="rect">
            <a:avLst/>
          </a:prstGeom>
          <a:solidFill>
            <a:schemeClr val="accent5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Independent and identically distributed random </a:t>
            </a:r>
            <a:r>
              <a:rPr lang="en-US" dirty="0" smtClean="0"/>
              <a:t>variable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3507480" y="1520862"/>
            <a:ext cx="552222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 smtClean="0"/>
              <a:t>Represents Prediction Intervals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 smtClean="0"/>
              <a:t>Assumes a normal distribution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  <a:endParaRPr lang="en-US" altLang="en-US" sz="14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</a:t>
            </a: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80 </a:t>
            </a:r>
            <a:endParaRPr lang="en-US" altLang="en-US" sz="14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</a:t>
            </a: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95 </a:t>
            </a:r>
            <a:endParaRPr lang="en-US" altLang="en-US" sz="14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Each period increases standard deviation; stretching out the normal distribution.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dirty="0"/>
              <a:t>As time progresses uncertainty increases</a:t>
            </a:r>
          </a:p>
        </p:txBody>
      </p:sp>
      <p:sp>
        <p:nvSpPr>
          <p:cNvPr id="27" name="Isosceles Triangle 26"/>
          <p:cNvSpPr/>
          <p:nvPr/>
        </p:nvSpPr>
        <p:spPr>
          <a:xfrm rot="5400000">
            <a:off x="834188" y="3384883"/>
            <a:ext cx="4652210" cy="44918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388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ded Forecast Area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/>
          <a:srcRect l="75705" t="13454" r="5640" b="53169"/>
          <a:stretch/>
        </p:blipFill>
        <p:spPr>
          <a:xfrm>
            <a:off x="505063" y="1491917"/>
            <a:ext cx="3890472" cy="4172600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5277854" y="1403560"/>
            <a:ext cx="3625516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400" dirty="0" smtClean="0"/>
              <a:t>Laying the normal distribution onto the forecast you get a probability centered at the forecast.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</a:t>
            </a: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80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</a:t>
            </a: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95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18" name="Picture 2" descr="Image result for normal distribution curve transparent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9" t="11922"/>
          <a:stretch/>
        </p:blipFill>
        <p:spPr bwMode="auto">
          <a:xfrm rot="5400000">
            <a:off x="943677" y="3322570"/>
            <a:ext cx="4684298" cy="1215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val 7"/>
          <p:cNvSpPr/>
          <p:nvPr/>
        </p:nvSpPr>
        <p:spPr>
          <a:xfrm>
            <a:off x="2713704" y="3045541"/>
            <a:ext cx="125362" cy="12536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2703872" y="4510547"/>
            <a:ext cx="125362" cy="125362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2703872" y="3610896"/>
            <a:ext cx="125362" cy="125362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31" idx="6"/>
          </p:cNvCxnSpPr>
          <p:nvPr/>
        </p:nvCxnSpPr>
        <p:spPr>
          <a:xfrm flipV="1">
            <a:off x="2829234" y="3898232"/>
            <a:ext cx="2957955" cy="674996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8" idx="6"/>
          </p:cNvCxnSpPr>
          <p:nvPr/>
        </p:nvCxnSpPr>
        <p:spPr>
          <a:xfrm>
            <a:off x="2839066" y="3108222"/>
            <a:ext cx="2960155" cy="537346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0005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ded Forecast Area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/>
          <a:srcRect l="75705" t="13454" r="5640" b="53169"/>
          <a:stretch/>
        </p:blipFill>
        <p:spPr>
          <a:xfrm>
            <a:off x="505063" y="1491917"/>
            <a:ext cx="3890472" cy="4172600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5277854" y="1403560"/>
            <a:ext cx="362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400" dirty="0" smtClean="0"/>
              <a:t>The distribution advances to the next forecast to make the new prediction intervals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</a:t>
            </a: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80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</a:t>
            </a: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95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18" name="Picture 2" descr="Image result for normal distribution curve transparent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1" t="11922"/>
          <a:stretch/>
        </p:blipFill>
        <p:spPr bwMode="auto">
          <a:xfrm rot="5400000">
            <a:off x="1282570" y="3272439"/>
            <a:ext cx="4969040" cy="1215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val 7"/>
          <p:cNvSpPr/>
          <p:nvPr/>
        </p:nvSpPr>
        <p:spPr>
          <a:xfrm>
            <a:off x="3158873" y="2636458"/>
            <a:ext cx="125362" cy="12536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3149041" y="4691028"/>
            <a:ext cx="125362" cy="125362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3149041" y="3466517"/>
            <a:ext cx="125362" cy="125362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31" idx="6"/>
          </p:cNvCxnSpPr>
          <p:nvPr/>
        </p:nvCxnSpPr>
        <p:spPr>
          <a:xfrm flipV="1">
            <a:off x="3274403" y="3545305"/>
            <a:ext cx="2468671" cy="1208404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8" idx="6"/>
          </p:cNvCxnSpPr>
          <p:nvPr/>
        </p:nvCxnSpPr>
        <p:spPr>
          <a:xfrm>
            <a:off x="3284235" y="2699139"/>
            <a:ext cx="2490923" cy="509282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/>
          <p:cNvSpPr/>
          <p:nvPr/>
        </p:nvSpPr>
        <p:spPr>
          <a:xfrm>
            <a:off x="2713704" y="3045541"/>
            <a:ext cx="125362" cy="12536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/>
          <p:cNvSpPr/>
          <p:nvPr/>
        </p:nvSpPr>
        <p:spPr>
          <a:xfrm>
            <a:off x="2703872" y="4510547"/>
            <a:ext cx="125362" cy="125362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2703872" y="3610896"/>
            <a:ext cx="125362" cy="125362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5206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2_NaiveNike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00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17174473"/>
              </p:ext>
            </p:extLst>
          </p:nvPr>
        </p:nvGraphicFramePr>
        <p:xfrm>
          <a:off x="614363" y="1111250"/>
          <a:ext cx="7915275" cy="34747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ecastin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reak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Naïve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ime Series Decomposition</a:t>
                      </a:r>
                      <a:endParaRPr lang="en-US" sz="2000" b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Break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/>
                        <a:t>Workforce Planning Example</a:t>
                      </a:r>
                    </a:p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2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59707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488" y="1654272"/>
            <a:ext cx="3771900" cy="1388966"/>
          </a:xfrm>
        </p:spPr>
        <p:txBody>
          <a:bodyPr/>
          <a:lstStyle/>
          <a:p>
            <a:r>
              <a:rPr lang="en-US" dirty="0" smtClean="0"/>
              <a:t>Decompose a time series into</a:t>
            </a:r>
          </a:p>
          <a:p>
            <a:pPr lvl="1"/>
            <a:r>
              <a:rPr lang="en-US" dirty="0" smtClean="0"/>
              <a:t>Trend</a:t>
            </a:r>
          </a:p>
          <a:p>
            <a:pPr lvl="1"/>
            <a:r>
              <a:rPr lang="en-US" dirty="0" smtClean="0"/>
              <a:t>Seasonal</a:t>
            </a:r>
          </a:p>
          <a:p>
            <a:pPr lvl="1"/>
            <a:r>
              <a:rPr lang="en-US" dirty="0" smtClean="0"/>
              <a:t>Random (noise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43000"/>
            <a:ext cx="4861707" cy="48434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5024438" y="3206847"/>
            <a:ext cx="3771900" cy="209381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De-Season Data</a:t>
            </a:r>
          </a:p>
          <a:p>
            <a:pPr lvl="1"/>
            <a:r>
              <a:rPr lang="en-US" dirty="0" smtClean="0"/>
              <a:t>Helps understand the underlying characteristics of a time series</a:t>
            </a:r>
          </a:p>
          <a:p>
            <a:r>
              <a:rPr lang="en-US" dirty="0" smtClean="0"/>
              <a:t>Sometimes applying a forecast or model to the random component can improve accurac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91507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L Data Fra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92385DCF-E141-4D39-B06E-9C9C5AF21B3D}"/>
              </a:ext>
            </a:extLst>
          </p:cNvPr>
          <p:cNvSpPr txBox="1"/>
          <p:nvPr/>
        </p:nvSpPr>
        <p:spPr>
          <a:xfrm>
            <a:off x="180644" y="4794235"/>
            <a:ext cx="896335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record is a standalone observation of a phenomena you are trying to predict, classify or clus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cords have defined attributes for each data row</a:t>
            </a:r>
            <a:r>
              <a:rPr lang="en-US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otice time is not interacting between rows </a:t>
            </a:r>
            <a:r>
              <a:rPr lang="en-US" i="1" dirty="0" smtClean="0"/>
              <a:t>(or it had not better be) </a:t>
            </a:r>
            <a:r>
              <a:rPr lang="en-US" dirty="0" smtClean="0"/>
              <a:t>but is present at the observational row.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785" y="2151757"/>
            <a:ext cx="8539841" cy="1371600"/>
          </a:xfrm>
          <a:prstGeom prst="rect">
            <a:avLst/>
          </a:prstGeom>
        </p:spPr>
      </p:pic>
      <p:cxnSp>
        <p:nvCxnSpPr>
          <p:cNvPr id="12" name="Straight Arrow Connector 11"/>
          <p:cNvCxnSpPr/>
          <p:nvPr/>
        </p:nvCxnSpPr>
        <p:spPr>
          <a:xfrm>
            <a:off x="342912" y="2200275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365100" y="2771775"/>
            <a:ext cx="10071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Observations</a:t>
            </a:r>
            <a:endParaRPr lang="en-US" sz="1200" dirty="0">
              <a:solidFill>
                <a:schemeClr val="accent6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657225" y="3857625"/>
            <a:ext cx="8115300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087713" y="3924300"/>
            <a:ext cx="2127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Attributes for each observation</a:t>
            </a:r>
            <a:endParaRPr lang="en-US" sz="12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21394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 smtClean="0"/>
                  <a:t>Y</a:t>
                </a:r>
                <a:r>
                  <a:rPr lang="en-US" sz="4400" baseline="-25000" dirty="0" err="1" smtClean="0"/>
                  <a:t>t</a:t>
                </a:r>
                <a:r>
                  <a:rPr lang="en-US" sz="4400" dirty="0" smtClean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 smtClean="0"/>
                  <a:t>(S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T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E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)</a:t>
                </a:r>
                <a:r>
                  <a:rPr lang="en-US" sz="4400" baseline="-25000" dirty="0" smtClean="0"/>
                  <a:t> </a:t>
                </a:r>
                <a:endParaRPr lang="en-US" sz="4400" baseline="-25000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2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Data at a specific time period (t) is equal to a mix* of seasonal  values, trend values and whatever is left  at the same time period.</a:t>
            </a:r>
            <a:endParaRPr lang="en-US" sz="2400" dirty="0"/>
          </a:p>
        </p:txBody>
      </p:sp>
      <p:sp>
        <p:nvSpPr>
          <p:cNvPr id="9" name="TextBox 8"/>
          <p:cNvSpPr txBox="1"/>
          <p:nvPr/>
        </p:nvSpPr>
        <p:spPr>
          <a:xfrm>
            <a:off x="357187" y="3571857"/>
            <a:ext cx="5297604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u="sng" dirty="0" smtClean="0"/>
              <a:t>Where (Math-speak version):</a:t>
            </a:r>
          </a:p>
          <a:p>
            <a:r>
              <a:rPr lang="en-US" sz="2000" dirty="0" err="1"/>
              <a:t>Y</a:t>
            </a:r>
            <a:r>
              <a:rPr lang="en-US" sz="2000" baseline="-25000" dirty="0" err="1"/>
              <a:t>t</a:t>
            </a:r>
            <a:r>
              <a:rPr lang="en-US" sz="2000" dirty="0"/>
              <a:t> </a:t>
            </a:r>
            <a:r>
              <a:rPr lang="en-US" sz="2000" dirty="0" smtClean="0"/>
              <a:t>= data at period t</a:t>
            </a:r>
          </a:p>
          <a:p>
            <a:r>
              <a:rPr lang="en-US" sz="2000" dirty="0" smtClean="0"/>
              <a:t>S</a:t>
            </a:r>
            <a:r>
              <a:rPr lang="en-US" sz="2000" baseline="-25000" dirty="0" smtClean="0"/>
              <a:t>t</a:t>
            </a:r>
            <a:r>
              <a:rPr lang="en-US" sz="2000" dirty="0" smtClean="0"/>
              <a:t> = seasonal component at period t</a:t>
            </a:r>
          </a:p>
          <a:p>
            <a:r>
              <a:rPr lang="en-US" sz="2000" dirty="0" smtClean="0"/>
              <a:t>T</a:t>
            </a:r>
            <a:r>
              <a:rPr lang="en-US" sz="2000" baseline="-25000" dirty="0" smtClean="0"/>
              <a:t>t</a:t>
            </a:r>
            <a:r>
              <a:rPr lang="en-US" sz="2000" dirty="0" smtClean="0"/>
              <a:t> = trend component at period t</a:t>
            </a:r>
          </a:p>
          <a:p>
            <a:r>
              <a:rPr lang="en-US" sz="2000" dirty="0" smtClean="0"/>
              <a:t>E</a:t>
            </a:r>
            <a:r>
              <a:rPr lang="en-US" sz="2000" baseline="-25000" dirty="0" smtClean="0"/>
              <a:t>t</a:t>
            </a:r>
            <a:r>
              <a:rPr lang="en-US" sz="2000" dirty="0" smtClean="0"/>
              <a:t> = remainder or residual component at period t</a:t>
            </a:r>
            <a:endParaRPr lang="en-US" sz="2000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83606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 smtClean="0"/>
                  <a:t>Y</a:t>
                </a:r>
                <a:r>
                  <a:rPr lang="en-US" sz="4400" baseline="-25000" dirty="0" err="1" smtClean="0"/>
                  <a:t>t</a:t>
                </a:r>
                <a:r>
                  <a:rPr lang="en-US" sz="4400" dirty="0" smtClean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 smtClean="0"/>
                  <a:t>(S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T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E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)</a:t>
                </a:r>
                <a:r>
                  <a:rPr lang="en-US" sz="4400" baseline="-25000" dirty="0" smtClean="0"/>
                  <a:t> </a:t>
                </a:r>
                <a:endParaRPr lang="en-US" sz="4400" baseline="-25000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2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Data at a specific time period (t) is equal to a mix* of seasonal  values, trend values and whatever is left  at the same time period.</a:t>
            </a:r>
            <a:endParaRPr lang="en-US" sz="2400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88112" y="3357554"/>
            <a:ext cx="895588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*Mix can either be </a:t>
            </a:r>
          </a:p>
          <a:p>
            <a:r>
              <a:rPr lang="en-US" sz="1600" b="1" dirty="0" smtClean="0"/>
              <a:t>Additive</a:t>
            </a:r>
            <a:r>
              <a:rPr lang="en-US" sz="1600" dirty="0" smtClean="0"/>
              <a:t> – </a:t>
            </a:r>
            <a:r>
              <a:rPr lang="en-US" sz="1600" dirty="0" err="1" smtClean="0"/>
              <a:t>Y</a:t>
            </a:r>
            <a:r>
              <a:rPr lang="en-US" sz="1600" baseline="-25000" dirty="0" err="1" smtClean="0"/>
              <a:t>t</a:t>
            </a:r>
            <a:r>
              <a:rPr lang="en-US" sz="1600" dirty="0" smtClean="0"/>
              <a:t>= </a:t>
            </a:r>
            <a:r>
              <a:rPr lang="en-US" sz="1600" dirty="0"/>
              <a:t>Seasonal effect + Trend + Cyclical + </a:t>
            </a:r>
            <a:r>
              <a:rPr lang="en-US" sz="1600" dirty="0" smtClean="0"/>
              <a:t>Residual</a:t>
            </a:r>
          </a:p>
          <a:p>
            <a:r>
              <a:rPr lang="en-US" sz="1600" dirty="0" smtClean="0"/>
              <a:t>An </a:t>
            </a:r>
            <a:r>
              <a:rPr lang="en-US" sz="1600" dirty="0"/>
              <a:t>additive model assumes that the difference between </a:t>
            </a:r>
            <a:r>
              <a:rPr lang="en-US" sz="1600" dirty="0" smtClean="0"/>
              <a:t>each time period is </a:t>
            </a:r>
            <a:r>
              <a:rPr lang="en-US" sz="1600" dirty="0"/>
              <a:t>approximately the </a:t>
            </a:r>
            <a:r>
              <a:rPr lang="en-US" sz="1600" dirty="0" smtClean="0"/>
              <a:t>same</a:t>
            </a:r>
          </a:p>
          <a:p>
            <a:r>
              <a:rPr lang="en-US" sz="1600" dirty="0" smtClean="0"/>
              <a:t> For example, Jan trend is +100, </a:t>
            </a:r>
            <a:r>
              <a:rPr lang="en-US" sz="1600" dirty="0"/>
              <a:t> </a:t>
            </a:r>
            <a:r>
              <a:rPr lang="en-US" sz="1600" dirty="0" smtClean="0"/>
              <a:t>so next Jan trend would add another +100.  </a:t>
            </a:r>
          </a:p>
          <a:p>
            <a:endParaRPr lang="en-US" sz="1600" b="1" dirty="0" smtClean="0"/>
          </a:p>
          <a:p>
            <a:r>
              <a:rPr lang="en-US" sz="1600" b="1" dirty="0" smtClean="0"/>
              <a:t>Multiplicative</a:t>
            </a:r>
            <a:r>
              <a:rPr lang="en-US" sz="1600" dirty="0" smtClean="0"/>
              <a:t> - </a:t>
            </a:r>
            <a:r>
              <a:rPr lang="en-US" sz="1600" dirty="0" err="1"/>
              <a:t>Y</a:t>
            </a:r>
            <a:r>
              <a:rPr lang="en-US" sz="1600" baseline="-25000" dirty="0" err="1"/>
              <a:t>t</a:t>
            </a:r>
            <a:r>
              <a:rPr lang="en-US" sz="1600" dirty="0"/>
              <a:t>= Seasonal effect </a:t>
            </a:r>
            <a:r>
              <a:rPr lang="en-US" sz="1600" dirty="0" smtClean="0"/>
              <a:t>X </a:t>
            </a:r>
            <a:r>
              <a:rPr lang="en-US" sz="1600" dirty="0"/>
              <a:t>Trend </a:t>
            </a:r>
            <a:r>
              <a:rPr lang="en-US" sz="1600" dirty="0" smtClean="0"/>
              <a:t>X </a:t>
            </a:r>
            <a:r>
              <a:rPr lang="en-US" sz="1600" dirty="0"/>
              <a:t>Cyclical </a:t>
            </a:r>
            <a:r>
              <a:rPr lang="en-US" sz="1600" dirty="0" smtClean="0"/>
              <a:t>X Residual</a:t>
            </a:r>
          </a:p>
          <a:p>
            <a:r>
              <a:rPr lang="en-US" sz="1600" dirty="0" smtClean="0"/>
              <a:t>A multiplicative model assumes changes are proportional and not constant.</a:t>
            </a:r>
          </a:p>
          <a:p>
            <a:r>
              <a:rPr lang="en-US" sz="1600" dirty="0" smtClean="0"/>
              <a:t>For example Jan season is +100 as part of a 1,000 total (10%).  The next Jan the total is 1500, and the seasonal adjustment would be 150 (10%).    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78768633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Use additive models if the seasonality (repeating pattern) is simil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Use multiplicative if the seasonality grows larger over time but is still the same proportion of the total</a:t>
            </a:r>
            <a:endParaRPr lang="en-US" dirty="0"/>
          </a:p>
        </p:txBody>
      </p:sp>
      <p:pic>
        <p:nvPicPr>
          <p:cNvPr id="18434" name="Picture 2" descr="Image result for additive time serie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6" y="2047864"/>
            <a:ext cx="3705225" cy="246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 descr="Image result for multiplica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2014" y="2076919"/>
            <a:ext cx="3989386" cy="2408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300038" y="1576376"/>
            <a:ext cx="3600450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dditiv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4610100" y="1576376"/>
            <a:ext cx="4133849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ultiplicative</a:t>
            </a:r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220984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asonal Adjustme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76066" y="1314450"/>
            <a:ext cx="816229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u="sng" dirty="0" smtClean="0"/>
              <a:t>One useful by-product from decomposition is the ability to de-season data.</a:t>
            </a:r>
            <a:endParaRPr lang="en-US" sz="2000" b="1" u="sng" dirty="0"/>
          </a:p>
        </p:txBody>
      </p:sp>
      <p:grpSp>
        <p:nvGrpSpPr>
          <p:cNvPr id="12" name="Group 11"/>
          <p:cNvGrpSpPr/>
          <p:nvPr/>
        </p:nvGrpSpPr>
        <p:grpSpPr>
          <a:xfrm>
            <a:off x="2826041" y="2143114"/>
            <a:ext cx="3491918" cy="2450583"/>
            <a:chOff x="2667000" y="2371719"/>
            <a:chExt cx="3491918" cy="2450583"/>
          </a:xfrm>
        </p:grpSpPr>
        <p:sp>
          <p:nvSpPr>
            <p:cNvPr id="8" name="TextBox 7"/>
            <p:cNvSpPr txBox="1"/>
            <p:nvPr/>
          </p:nvSpPr>
          <p:spPr>
            <a:xfrm>
              <a:off x="2824768" y="2671736"/>
              <a:ext cx="3176382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4400" dirty="0" err="1" smtClean="0"/>
                <a:t>Y</a:t>
              </a:r>
              <a:r>
                <a:rPr lang="en-US" sz="4400" baseline="-25000" dirty="0" err="1" smtClean="0"/>
                <a:t>t</a:t>
              </a:r>
              <a:r>
                <a:rPr lang="en-US" sz="4400" dirty="0" smtClean="0"/>
                <a:t> - S</a:t>
              </a:r>
              <a:r>
                <a:rPr lang="en-US" sz="4400" baseline="-25000" dirty="0" smtClean="0"/>
                <a:t>t</a:t>
              </a:r>
              <a:r>
                <a:rPr lang="en-US" sz="4400" dirty="0" smtClean="0"/>
                <a:t>= T</a:t>
              </a:r>
              <a:r>
                <a:rPr lang="en-US" sz="4400" baseline="-25000" dirty="0" smtClean="0"/>
                <a:t>t </a:t>
              </a:r>
              <a:r>
                <a:rPr lang="en-US" sz="4400" dirty="0" smtClean="0"/>
                <a:t>+ E</a:t>
              </a:r>
              <a:r>
                <a:rPr lang="en-US" sz="4400" baseline="-25000" dirty="0" smtClean="0"/>
                <a:t>t </a:t>
              </a:r>
              <a:endParaRPr lang="en-US" sz="4400" baseline="-25000" dirty="0"/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2919056" y="2371719"/>
              <a:ext cx="29878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Additive Seasonal Adjustment</a:t>
              </a:r>
              <a:endParaRPr lang="en-US" dirty="0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2795914" y="4052861"/>
              <a:ext cx="3221266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4400" dirty="0" err="1" smtClean="0"/>
                <a:t>Y</a:t>
              </a:r>
              <a:r>
                <a:rPr lang="en-US" sz="4400" baseline="-25000" dirty="0" err="1" smtClean="0"/>
                <a:t>t</a:t>
              </a:r>
              <a:r>
                <a:rPr lang="en-US" sz="4400" dirty="0" smtClean="0"/>
                <a:t> / S</a:t>
              </a:r>
              <a:r>
                <a:rPr lang="en-US" sz="4400" baseline="-25000" dirty="0" smtClean="0"/>
                <a:t>t</a:t>
              </a:r>
              <a:r>
                <a:rPr lang="en-US" sz="4400" dirty="0" smtClean="0"/>
                <a:t>= T</a:t>
              </a:r>
              <a:r>
                <a:rPr lang="en-US" sz="4400" baseline="-25000" dirty="0" smtClean="0"/>
                <a:t>t </a:t>
              </a:r>
              <a:r>
                <a:rPr lang="en-US" sz="4400" dirty="0"/>
                <a:t>*</a:t>
              </a:r>
              <a:r>
                <a:rPr lang="en-US" sz="4400" dirty="0" smtClean="0"/>
                <a:t> E</a:t>
              </a:r>
              <a:r>
                <a:rPr lang="en-US" sz="4400" baseline="-25000" dirty="0" smtClean="0"/>
                <a:t>t </a:t>
              </a:r>
              <a:endParaRPr lang="en-US" sz="4400" baseline="-25000" dirty="0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2667000" y="3752844"/>
              <a:ext cx="34919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Multiplicative Seasonal Adjustment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11867504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 – 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71501" y="1657350"/>
            <a:ext cx="797242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eparates Trend, Seasonal and Random components of a time se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mponents are combined b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Additive – adding components is appropriate if the seasonal pattern is consist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Multiplicative – multiplying components is appropriate if the seasonal pattern changes over time but it proportional to the time ser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SD can help you understand the data and can be done as part of E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ach component can be forecasted separately to (sometimes) improve accuracy then each forecast can be combined to arrive at a final foreca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e-seasoning data is possible by subtracting (additive TSD) or dividing (multiplicative TSD) it out of the time ser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19543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3_TimeSeriesDecompositionAMZN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4491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32542374"/>
              </p:ext>
            </p:extLst>
          </p:nvPr>
        </p:nvGraphicFramePr>
        <p:xfrm>
          <a:off x="614363" y="1111250"/>
          <a:ext cx="7915275" cy="34747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ecastin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reak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Naïve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me Series Decomposition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Break</a:t>
                      </a:r>
                      <a:endParaRPr lang="en-US" sz="2000" b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Holt Winters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/>
                        <a:t>Workforce Planning Example</a:t>
                      </a:r>
                    </a:p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2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73052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Mean Average – good for population summary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71461" y="1643062"/>
            <a:ext cx="24574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Add all values and divide by population</a:t>
            </a:r>
            <a:endParaRPr lang="en-US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328611" y="2328863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Each record has the same weight.</a:t>
            </a:r>
            <a:endParaRPr lang="en-US" sz="1600" dirty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3919681"/>
              </p:ext>
            </p:extLst>
          </p:nvPr>
        </p:nvGraphicFramePr>
        <p:xfrm>
          <a:off x="789430" y="3054351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18" name="Group 17"/>
          <p:cNvGrpSpPr/>
          <p:nvPr/>
        </p:nvGrpSpPr>
        <p:grpSpPr>
          <a:xfrm>
            <a:off x="547326" y="5514976"/>
            <a:ext cx="1905721" cy="522083"/>
            <a:chOff x="385763" y="5514976"/>
            <a:chExt cx="1905721" cy="522083"/>
          </a:xfrm>
        </p:grpSpPr>
        <p:grpSp>
          <p:nvGrpSpPr>
            <p:cNvPr id="17" name="Group 16"/>
            <p:cNvGrpSpPr/>
            <p:nvPr/>
          </p:nvGrpSpPr>
          <p:grpSpPr>
            <a:xfrm>
              <a:off x="385763" y="5514976"/>
              <a:ext cx="1457450" cy="522083"/>
              <a:chOff x="385763" y="5514976"/>
              <a:chExt cx="1457450" cy="522083"/>
            </a:xfrm>
          </p:grpSpPr>
          <p:sp>
            <p:nvSpPr>
              <p:cNvPr id="14" name="TextBox 13"/>
              <p:cNvSpPr txBox="1"/>
              <p:nvPr/>
            </p:nvSpPr>
            <p:spPr>
              <a:xfrm>
                <a:off x="385763" y="5514976"/>
                <a:ext cx="1457450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u="sng" dirty="0" smtClean="0"/>
                  <a:t>10+20+30+40+50</a:t>
                </a:r>
                <a:endParaRPr lang="en-US" sz="1400" u="sng" dirty="0"/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976469" y="5729282"/>
                <a:ext cx="2760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dirty="0" smtClean="0"/>
                  <a:t>5</a:t>
                </a:r>
                <a:endParaRPr lang="en-US" sz="1400" dirty="0"/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1757363" y="5591351"/>
              <a:ext cx="53412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=30</a:t>
              </a:r>
              <a:endParaRPr lang="en-US" dirty="0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043488" y="1757362"/>
            <a:ext cx="1704313" cy="64633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mean(riders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)</a:t>
            </a:r>
          </a:p>
          <a:p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[1] 1822.197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6613" y="2433637"/>
            <a:ext cx="4924426" cy="3769958"/>
          </a:xfrm>
          <a:prstGeom prst="rect">
            <a:avLst/>
          </a:prstGeom>
        </p:spPr>
      </p:pic>
      <p:cxnSp>
        <p:nvCxnSpPr>
          <p:cNvPr id="39" name="Straight Connector 38"/>
          <p:cNvCxnSpPr/>
          <p:nvPr/>
        </p:nvCxnSpPr>
        <p:spPr>
          <a:xfrm>
            <a:off x="3214688" y="1971675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079362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207" y="1943093"/>
            <a:ext cx="5139442" cy="39445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Centered Moving Average – smooths seasonality</a:t>
            </a:r>
            <a:endParaRPr lang="en-US" sz="2400" dirty="0">
              <a:solidFill>
                <a:schemeClr val="bg1"/>
              </a:solidFill>
            </a:endParaRPr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856115"/>
              </p:ext>
            </p:extLst>
          </p:nvPr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Add all values and divide by population </a:t>
            </a:r>
            <a:r>
              <a:rPr lang="en-US" sz="1600" b="1" i="1" dirty="0" smtClean="0"/>
              <a:t>in the window</a:t>
            </a:r>
            <a:endParaRPr lang="en-US" sz="1600" b="1" i="1" dirty="0"/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Records in the window have the same weight.</a:t>
            </a:r>
            <a:endParaRPr lang="en-US" sz="1600" dirty="0"/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 = 3</a:t>
            </a:r>
            <a:endParaRPr lang="en-US" dirty="0"/>
          </a:p>
        </p:txBody>
      </p:sp>
      <p:sp>
        <p:nvSpPr>
          <p:cNvPr id="25" name="Isosceles Triangle 24"/>
          <p:cNvSpPr/>
          <p:nvPr/>
        </p:nvSpPr>
        <p:spPr>
          <a:xfrm rot="5400000">
            <a:off x="1339673" y="3941925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1962129" y="3757615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10+20+30</a:t>
            </a:r>
            <a:endParaRPr lang="en-US" sz="1400" u="sng" dirty="0"/>
          </a:p>
        </p:txBody>
      </p:sp>
      <p:sp>
        <p:nvSpPr>
          <p:cNvPr id="30" name="TextBox 29"/>
          <p:cNvSpPr txBox="1"/>
          <p:nvPr/>
        </p:nvSpPr>
        <p:spPr>
          <a:xfrm>
            <a:off x="2280324" y="3938584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3</a:t>
            </a:r>
            <a:endParaRPr lang="en-US" sz="1400" dirty="0"/>
          </a:p>
        </p:txBody>
      </p:sp>
      <p:sp>
        <p:nvSpPr>
          <p:cNvPr id="31" name="TextBox 30"/>
          <p:cNvSpPr txBox="1"/>
          <p:nvPr/>
        </p:nvSpPr>
        <p:spPr>
          <a:xfrm>
            <a:off x="1962129" y="4652967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30+40+50</a:t>
            </a:r>
            <a:endParaRPr lang="en-US" sz="1400" u="sng" dirty="0"/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122429" y="4300540"/>
            <a:ext cx="3193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…</a:t>
            </a:r>
            <a:endParaRPr lang="en-US" sz="1400" dirty="0"/>
          </a:p>
        </p:txBody>
      </p:sp>
      <p:sp>
        <p:nvSpPr>
          <p:cNvPr id="35" name="TextBox 34"/>
          <p:cNvSpPr txBox="1"/>
          <p:nvPr/>
        </p:nvSpPr>
        <p:spPr>
          <a:xfrm>
            <a:off x="2711859" y="4672186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40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2711859" y="3781608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15</a:t>
            </a:r>
            <a:endParaRPr lang="en-US" dirty="0"/>
          </a:p>
        </p:txBody>
      </p:sp>
      <p:sp>
        <p:nvSpPr>
          <p:cNvPr id="38" name="Isosceles Triangle 37"/>
          <p:cNvSpPr/>
          <p:nvPr/>
        </p:nvSpPr>
        <p:spPr>
          <a:xfrm rot="5400000">
            <a:off x="1334911" y="4365787"/>
            <a:ext cx="1097280" cy="228600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Isosceles Triangle 38"/>
          <p:cNvSpPr/>
          <p:nvPr/>
        </p:nvSpPr>
        <p:spPr>
          <a:xfrm rot="5400000">
            <a:off x="1334910" y="4694400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Descriptive because it uses values from the future so not good for forecasting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637904" y="1628776"/>
            <a:ext cx="2844048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/>
              <a:t>ma(riders, order =12)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5205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Trailing Moving Average – smooths seasonality</a:t>
            </a:r>
            <a:endParaRPr lang="en-US" sz="2400" dirty="0">
              <a:solidFill>
                <a:schemeClr val="bg1"/>
              </a:solidFill>
            </a:endParaRPr>
          </a:p>
        </p:txBody>
      </p:sp>
      <p:graphicFrame>
        <p:nvGraphicFramePr>
          <p:cNvPr id="20" name="Table 19"/>
          <p:cNvGraphicFramePr>
            <a:graphicFrameLocks noGrp="1"/>
          </p:cNvGraphicFramePr>
          <p:nvPr/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Add all values and divide by population </a:t>
            </a:r>
            <a:r>
              <a:rPr lang="en-US" sz="1600" b="1" i="1" dirty="0" smtClean="0"/>
              <a:t>in the window</a:t>
            </a:r>
            <a:endParaRPr lang="en-US" sz="1600" b="1" i="1" dirty="0"/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Records in the window have the same weight.</a:t>
            </a:r>
            <a:endParaRPr lang="en-US" sz="1600" dirty="0"/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 = 3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1962129" y="4314841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10+20+30</a:t>
            </a:r>
            <a:endParaRPr lang="en-US" sz="1400" u="sng" dirty="0"/>
          </a:p>
        </p:txBody>
      </p:sp>
      <p:sp>
        <p:nvSpPr>
          <p:cNvPr id="30" name="TextBox 29"/>
          <p:cNvSpPr txBox="1"/>
          <p:nvPr/>
        </p:nvSpPr>
        <p:spPr>
          <a:xfrm>
            <a:off x="2280324" y="4495810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3</a:t>
            </a:r>
            <a:endParaRPr lang="en-US" sz="1400" dirty="0"/>
          </a:p>
        </p:txBody>
      </p:sp>
      <p:sp>
        <p:nvSpPr>
          <p:cNvPr id="31" name="TextBox 30"/>
          <p:cNvSpPr txBox="1"/>
          <p:nvPr/>
        </p:nvSpPr>
        <p:spPr>
          <a:xfrm>
            <a:off x="1962129" y="4752983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20+30+40</a:t>
            </a:r>
            <a:endParaRPr lang="en-US" sz="1400" u="sng" dirty="0"/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11859" y="4772202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30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2711859" y="4338834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20</a:t>
            </a:r>
            <a:endParaRPr lang="en-US" dirty="0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Uses preceding window values so ok for forecasts but lags for trend and seasonal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726277" y="1628776"/>
            <a:ext cx="5250155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 err="1"/>
              <a:t>rollmean</a:t>
            </a:r>
            <a:r>
              <a:rPr lang="en-US" dirty="0"/>
              <a:t>(riders, k = 12, align = 'right'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8706" y="2019451"/>
            <a:ext cx="5025297" cy="3795562"/>
          </a:xfrm>
          <a:prstGeom prst="rect">
            <a:avLst/>
          </a:prstGeom>
        </p:spPr>
      </p:pic>
      <p:sp>
        <p:nvSpPr>
          <p:cNvPr id="43" name="Freeform 42"/>
          <p:cNvSpPr/>
          <p:nvPr/>
        </p:nvSpPr>
        <p:spPr>
          <a:xfrm rot="5400000">
            <a:off x="1426349" y="3957639"/>
            <a:ext cx="928690" cy="242888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35"/>
          <p:cNvSpPr/>
          <p:nvPr/>
        </p:nvSpPr>
        <p:spPr>
          <a:xfrm rot="5400000">
            <a:off x="1330246" y="4327582"/>
            <a:ext cx="1097280" cy="219272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4" name="Straight Connector 43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08772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ime Series Data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92385DCF-E141-4D39-B06E-9C9C5AF21B3D}"/>
              </a:ext>
            </a:extLst>
          </p:cNvPr>
          <p:cNvSpPr txBox="1"/>
          <p:nvPr/>
        </p:nvSpPr>
        <p:spPr>
          <a:xfrm>
            <a:off x="2914650" y="2522530"/>
            <a:ext cx="58293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is </a:t>
            </a:r>
            <a:r>
              <a:rPr lang="en-US" dirty="0" smtClean="0"/>
              <a:t>typically (not always) </a:t>
            </a:r>
            <a:r>
              <a:rPr lang="en-US" dirty="0"/>
              <a:t>in a single vector with each value being in sequence to the nex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ttributes may not be present because temporal information is held “within” the vector due to the relatedness of each record.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342912" y="2147888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365100" y="2738051"/>
            <a:ext cx="10071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Observations</a:t>
            </a:r>
            <a:endParaRPr lang="en-US" sz="1200" dirty="0">
              <a:solidFill>
                <a:schemeClr val="accent6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587" y="2085975"/>
            <a:ext cx="1381125" cy="3086100"/>
          </a:xfrm>
          <a:prstGeom prst="rect">
            <a:avLst/>
          </a:prstGeom>
        </p:spPr>
      </p:pic>
      <p:cxnSp>
        <p:nvCxnSpPr>
          <p:cNvPr id="14" name="Straight Arrow Connector 13"/>
          <p:cNvCxnSpPr/>
          <p:nvPr/>
        </p:nvCxnSpPr>
        <p:spPr>
          <a:xfrm>
            <a:off x="1995491" y="2147888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 rot="16200000">
            <a:off x="1761002" y="2738051"/>
            <a:ext cx="7459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Attribute</a:t>
            </a:r>
            <a:endParaRPr lang="en-US" sz="12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9305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Exponential Smoothing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42888" y="1752603"/>
            <a:ext cx="8629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u="sng" dirty="0" smtClean="0"/>
              <a:t>Older records in the window have the </a:t>
            </a:r>
            <a:r>
              <a:rPr lang="en-US" sz="2800" b="1" u="sng" dirty="0" smtClean="0"/>
              <a:t>diminishing</a:t>
            </a:r>
            <a:r>
              <a:rPr lang="en-US" sz="2800" u="sng" dirty="0" smtClean="0"/>
              <a:t>  weight</a:t>
            </a:r>
            <a:endParaRPr lang="en-US" sz="2800" u="sng" dirty="0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Values are weighted so their impact diminishes in the average the farther back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984267" y="2944296"/>
            <a:ext cx="5473808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400" b="1" dirty="0" smtClean="0"/>
              <a:t>α</a:t>
            </a:r>
            <a:r>
              <a:rPr lang="en-US" sz="2400" b="1" dirty="0" smtClean="0"/>
              <a:t> is a parameter between 0 and 1. 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0 = </a:t>
            </a:r>
            <a:r>
              <a:rPr lang="en-US" dirty="0"/>
              <a:t>more weight is given to observations from the more distant </a:t>
            </a:r>
            <a:r>
              <a:rPr lang="en-US" dirty="0" smtClean="0"/>
              <a:t>pas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Approaching 1= more weight given to rec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1 = all weight given to the most recent (same as a true Naïve forecas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62865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Exponential Smoothing – smooths seasonality</a:t>
            </a:r>
            <a:endParaRPr lang="en-US" sz="2400" dirty="0">
              <a:solidFill>
                <a:schemeClr val="bg1"/>
              </a:solidFill>
            </a:endParaRPr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6179416"/>
              </p:ext>
            </p:extLst>
          </p:nvPr>
        </p:nvGraphicFramePr>
        <p:xfrm>
          <a:off x="298869" y="2049467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1" name="TextBox 40"/>
          <p:cNvSpPr txBox="1"/>
          <p:nvPr/>
        </p:nvSpPr>
        <p:spPr>
          <a:xfrm>
            <a:off x="142875" y="4826772"/>
            <a:ext cx="8853487" cy="64633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As a forecasting method, ONLY use if no trend or seasonality…you can use it 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</a:rPr>
              <a:t>on the de-seasoned data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6" name="Freeform 35"/>
          <p:cNvSpPr/>
          <p:nvPr/>
        </p:nvSpPr>
        <p:spPr>
          <a:xfrm rot="5400000">
            <a:off x="913198" y="3113476"/>
            <a:ext cx="2014541" cy="302437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5625" y="2466975"/>
            <a:ext cx="5924550" cy="17526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6941538" y="4201597"/>
            <a:ext cx="22024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https://www.otexts.org/fpp/7/1</a:t>
            </a:r>
          </a:p>
        </p:txBody>
      </p:sp>
    </p:spTree>
    <p:extLst>
      <p:ext uri="{BB962C8B-B14F-4D97-AF65-F5344CB8AC3E}">
        <p14:creationId xmlns:p14="http://schemas.microsoft.com/office/powerpoint/2010/main" val="256390642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Exponential Smoothing – smooths seasonality</a:t>
            </a:r>
            <a:endParaRPr lang="en-US" sz="2400" dirty="0">
              <a:solidFill>
                <a:schemeClr val="bg1"/>
              </a:solidFill>
            </a:endParaRPr>
          </a:p>
        </p:txBody>
      </p:sp>
      <p:graphicFrame>
        <p:nvGraphicFramePr>
          <p:cNvPr id="20" name="Table 19"/>
          <p:cNvGraphicFramePr>
            <a:graphicFrameLocks noGrp="1"/>
          </p:cNvGraphicFramePr>
          <p:nvPr/>
        </p:nvGraphicFramePr>
        <p:xfrm>
          <a:off x="298869" y="2049467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1" name="TextBox 40"/>
          <p:cNvSpPr txBox="1"/>
          <p:nvPr/>
        </p:nvSpPr>
        <p:spPr>
          <a:xfrm>
            <a:off x="142875" y="4826772"/>
            <a:ext cx="8853487" cy="64633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As a forecasting method, ONLY use if no trend or seasonality…you can use it 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</a:rPr>
              <a:t>on the de-seasoned data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6" name="Freeform 35"/>
          <p:cNvSpPr/>
          <p:nvPr/>
        </p:nvSpPr>
        <p:spPr>
          <a:xfrm rot="5400000">
            <a:off x="913198" y="3113476"/>
            <a:ext cx="2014541" cy="302437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4287513"/>
              </p:ext>
            </p:extLst>
          </p:nvPr>
        </p:nvGraphicFramePr>
        <p:xfrm>
          <a:off x="2205037" y="3111500"/>
          <a:ext cx="4224338" cy="1143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51963"/>
                <a:gridCol w="1586606"/>
                <a:gridCol w="1685769"/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Valu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alpha 0.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Resul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1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 .2*(1-.2)^4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                      0.8192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2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 .2*(1-.2)^3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                      2.0480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 .2*(1-.2)^2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                      3.8400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.2*(1-.2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                      6.4000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0.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                   10.0000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624697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lt Winter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28600" y="1116794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HW applies exponential </a:t>
            </a:r>
            <a:r>
              <a:rPr lang="en-US" dirty="0">
                <a:solidFill>
                  <a:schemeClr val="bg1"/>
                </a:solidFill>
              </a:rPr>
              <a:t>s</a:t>
            </a:r>
            <a:r>
              <a:rPr lang="en-US" dirty="0" smtClean="0">
                <a:solidFill>
                  <a:schemeClr val="bg1"/>
                </a:solidFill>
              </a:rPr>
              <a:t>moothing to level, trend and seasonality individually then combines them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12869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view: Two  </a:t>
            </a:r>
            <a:r>
              <a:rPr lang="en-US" dirty="0"/>
              <a:t>Popular Forecast KPIs</a:t>
            </a:r>
          </a:p>
        </p:txBody>
      </p:sp>
      <p:sp>
        <p:nvSpPr>
          <p:cNvPr id="4" name="TextBox 3"/>
          <p:cNvSpPr txBox="1"/>
          <p:nvPr/>
        </p:nvSpPr>
        <p:spPr>
          <a:xfrm rot="16200000">
            <a:off x="-734409" y="1998410"/>
            <a:ext cx="204325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/>
              <a:t>RMSE</a:t>
            </a:r>
          </a:p>
          <a:p>
            <a:pPr algn="ctr"/>
            <a:r>
              <a:rPr lang="en-US" sz="1400" dirty="0" smtClean="0"/>
              <a:t>Root </a:t>
            </a:r>
            <a:r>
              <a:rPr lang="en-US" sz="1400" dirty="0"/>
              <a:t>Mean Squared Error</a:t>
            </a:r>
          </a:p>
        </p:txBody>
      </p:sp>
      <p:sp>
        <p:nvSpPr>
          <p:cNvPr id="16" name="TextBox 15"/>
          <p:cNvSpPr txBox="1"/>
          <p:nvPr/>
        </p:nvSpPr>
        <p:spPr>
          <a:xfrm rot="16200000">
            <a:off x="-816057" y="4482285"/>
            <a:ext cx="2216889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 smtClean="0"/>
              <a:t>MAPE</a:t>
            </a:r>
            <a:r>
              <a:rPr lang="en-US" dirty="0" smtClean="0"/>
              <a:t> </a:t>
            </a:r>
          </a:p>
          <a:p>
            <a:pPr algn="ctr"/>
            <a:r>
              <a:rPr lang="en-US" sz="1200" dirty="0" smtClean="0"/>
              <a:t>Mean </a:t>
            </a:r>
            <a:r>
              <a:rPr lang="en-US" sz="1200" dirty="0"/>
              <a:t>Absolute Percentag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931682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These are the same evaluation metrics used in continuous supervised learning.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514350" y="3371844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0185937"/>
              </p:ext>
            </p:extLst>
          </p:nvPr>
        </p:nvGraphicFramePr>
        <p:xfrm>
          <a:off x="542720" y="1239807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/>
                <a:gridCol w="1738313"/>
                <a:gridCol w="1115899"/>
                <a:gridCol w="111589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ctual Valu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redicted/Forecast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rro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quared Error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9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4589866" y="2018080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5928572" y="12977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ean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5676900" y="2002600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36+16+9+4</a:t>
            </a:r>
            <a:endParaRPr lang="en-US" u="sng" dirty="0"/>
          </a:p>
        </p:txBody>
      </p:sp>
      <p:sp>
        <p:nvSpPr>
          <p:cNvPr id="14" name="TextBox 13"/>
          <p:cNvSpPr txBox="1"/>
          <p:nvPr/>
        </p:nvSpPr>
        <p:spPr>
          <a:xfrm>
            <a:off x="6142572" y="2262153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4</a:t>
            </a:r>
            <a:endParaRPr lang="en-US" dirty="0"/>
          </a:p>
        </p:txBody>
      </p:sp>
      <p:sp>
        <p:nvSpPr>
          <p:cNvPr id="15" name="Isosceles Triangle 14"/>
          <p:cNvSpPr/>
          <p:nvPr/>
        </p:nvSpPr>
        <p:spPr>
          <a:xfrm rot="5400000">
            <a:off x="6185310" y="2013312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7538296" y="1312037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quare Root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/>
              <p:cNvSpPr txBox="1"/>
              <p:nvPr/>
            </p:nvSpPr>
            <p:spPr>
              <a:xfrm>
                <a:off x="7800975" y="1900207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8" name="TextBox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1900207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7843838" y="2414557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=4.03</a:t>
            </a:r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6229494"/>
              </p:ext>
            </p:extLst>
          </p:nvPr>
        </p:nvGraphicFramePr>
        <p:xfrm>
          <a:off x="599873" y="3668724"/>
          <a:ext cx="5809635" cy="2113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848"/>
                <a:gridCol w="1619979"/>
                <a:gridCol w="1039936"/>
                <a:gridCol w="1039936"/>
                <a:gridCol w="1039936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Actual Valu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Predicted/Forecaste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Error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Absolut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As % of Forecast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6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-6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6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=6/16 or </a:t>
                      </a:r>
                      <a:r>
                        <a:rPr lang="en-US" sz="1200" b="1" dirty="0" smtClean="0"/>
                        <a:t>37%</a:t>
                      </a:r>
                      <a:endParaRPr lang="en-US" sz="12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8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=4/8 or </a:t>
                      </a:r>
                    </a:p>
                    <a:p>
                      <a:pPr algn="ctr"/>
                      <a:r>
                        <a:rPr lang="en-US" sz="1200" b="1" dirty="0" smtClean="0"/>
                        <a:t>50%</a:t>
                      </a:r>
                      <a:endParaRPr lang="en-US" sz="12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7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=3/17 or </a:t>
                      </a:r>
                      <a:r>
                        <a:rPr lang="en-US" sz="1200" b="1" dirty="0" smtClean="0"/>
                        <a:t>17%</a:t>
                      </a:r>
                      <a:endParaRPr lang="en-US" sz="12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6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=2/34 or </a:t>
                      </a:r>
                    </a:p>
                    <a:p>
                      <a:pPr algn="ctr"/>
                      <a:r>
                        <a:rPr lang="en-US" sz="1200" b="1" dirty="0" smtClean="0"/>
                        <a:t>5%</a:t>
                      </a:r>
                      <a:endParaRPr lang="en-US" sz="1200" b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2" name="Isosceles Triangle 21"/>
          <p:cNvSpPr/>
          <p:nvPr/>
        </p:nvSpPr>
        <p:spPr>
          <a:xfrm rot="5400000">
            <a:off x="6065059" y="4186243"/>
            <a:ext cx="1257282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TextBox 22"/>
          <p:cNvSpPr txBox="1"/>
          <p:nvPr/>
        </p:nvSpPr>
        <p:spPr>
          <a:xfrm>
            <a:off x="6980074" y="3755243"/>
            <a:ext cx="19411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Mean of Percentages</a:t>
            </a:r>
            <a:endParaRPr lang="en-US" sz="1600" dirty="0"/>
          </a:p>
        </p:txBody>
      </p:sp>
      <p:sp>
        <p:nvSpPr>
          <p:cNvPr id="24" name="TextBox 23"/>
          <p:cNvSpPr txBox="1"/>
          <p:nvPr/>
        </p:nvSpPr>
        <p:spPr>
          <a:xfrm>
            <a:off x="7005644" y="4474380"/>
            <a:ext cx="18117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u="sng" dirty="0" smtClean="0"/>
              <a:t>37%+50%+17%+5%</a:t>
            </a:r>
            <a:endParaRPr lang="en-US" sz="1600" u="sng" dirty="0"/>
          </a:p>
        </p:txBody>
      </p:sp>
      <p:sp>
        <p:nvSpPr>
          <p:cNvPr id="25" name="TextBox 24"/>
          <p:cNvSpPr txBox="1"/>
          <p:nvPr/>
        </p:nvSpPr>
        <p:spPr>
          <a:xfrm>
            <a:off x="7899941" y="4748220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4</a:t>
            </a:r>
            <a:endParaRPr lang="en-US" sz="1600" dirty="0"/>
          </a:p>
        </p:txBody>
      </p:sp>
      <p:sp>
        <p:nvSpPr>
          <p:cNvPr id="26" name="TextBox 25"/>
          <p:cNvSpPr txBox="1"/>
          <p:nvPr/>
        </p:nvSpPr>
        <p:spPr>
          <a:xfrm>
            <a:off x="7672388" y="5286387"/>
            <a:ext cx="798617" cy="338554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=27.7%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77849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4_HoltWintersWMT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786571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accent1"/>
                          </a:solidFill>
                        </a:rPr>
                        <a:t>Forecastin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Method 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Method 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Method 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Workforce Planning Examp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2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98694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ression Based Forecasting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271463" y="1495424"/>
            <a:ext cx="7772400" cy="4267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 smtClean="0"/>
              <a:t>Ridership Y is a function of time (t) and noise (error = e)</a:t>
            </a:r>
          </a:p>
          <a:p>
            <a:pPr>
              <a:buFont typeface="Wingdings 2" pitchFamily="18" charset="2"/>
              <a:buNone/>
            </a:pPr>
            <a:endParaRPr lang="en-US" b="1" dirty="0" smtClean="0"/>
          </a:p>
          <a:p>
            <a:pPr>
              <a:buFont typeface="Wingdings 2" pitchFamily="18" charset="2"/>
              <a:buNone/>
            </a:pPr>
            <a:r>
              <a:rPr lang="en-US" i="1" dirty="0" smtClean="0"/>
              <a:t>Y</a:t>
            </a:r>
            <a:r>
              <a:rPr lang="en-US" i="1" baseline="-25000" dirty="0" smtClean="0"/>
              <a:t>i</a:t>
            </a:r>
            <a:r>
              <a:rPr lang="en-US" i="1" dirty="0" smtClean="0"/>
              <a:t> = B</a:t>
            </a:r>
            <a:r>
              <a:rPr lang="en-US" i="1" baseline="-25000" dirty="0" smtClean="0"/>
              <a:t>0</a:t>
            </a:r>
            <a:r>
              <a:rPr lang="en-US" i="1" dirty="0" smtClean="0"/>
              <a:t> + B</a:t>
            </a:r>
            <a:r>
              <a:rPr lang="en-US" i="1" baseline="-25000" dirty="0" smtClean="0"/>
              <a:t>1</a:t>
            </a:r>
            <a:r>
              <a:rPr lang="en-US" i="1" dirty="0" smtClean="0"/>
              <a:t>*t + e</a:t>
            </a:r>
          </a:p>
          <a:p>
            <a:pPr>
              <a:buFont typeface="Wingdings 2" pitchFamily="18" charset="2"/>
              <a:buNone/>
            </a:pPr>
            <a:endParaRPr lang="en-US" b="1" i="1" dirty="0" smtClean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Thus we model 3 of the 4 components:</a:t>
            </a:r>
          </a:p>
          <a:p>
            <a:pPr lvl="1"/>
            <a:r>
              <a:rPr lang="en-US" dirty="0" smtClean="0"/>
              <a:t>Level (</a:t>
            </a:r>
            <a:r>
              <a:rPr lang="en-US" i="1" dirty="0" smtClean="0"/>
              <a:t>B</a:t>
            </a:r>
            <a:r>
              <a:rPr lang="en-US" i="1" baseline="-25000" dirty="0" smtClean="0"/>
              <a:t>0</a:t>
            </a:r>
            <a:r>
              <a:rPr lang="en-US" dirty="0" smtClean="0"/>
              <a:t>)</a:t>
            </a:r>
          </a:p>
          <a:p>
            <a:pPr lvl="1"/>
            <a:r>
              <a:rPr lang="en-US" dirty="0" smtClean="0"/>
              <a:t>Trend* (</a:t>
            </a:r>
            <a:r>
              <a:rPr lang="en-US" i="1" dirty="0" smtClean="0"/>
              <a:t>B</a:t>
            </a:r>
            <a:r>
              <a:rPr lang="en-US" i="1" baseline="-25000" dirty="0" smtClean="0"/>
              <a:t>1</a:t>
            </a:r>
            <a:r>
              <a:rPr lang="en-US" dirty="0" smtClean="0"/>
              <a:t>)</a:t>
            </a:r>
          </a:p>
          <a:p>
            <a:pPr lvl="1"/>
            <a:r>
              <a:rPr lang="en-US" dirty="0" smtClean="0"/>
              <a:t>Noise (</a:t>
            </a:r>
            <a:r>
              <a:rPr lang="en-US" i="1" dirty="0" smtClean="0"/>
              <a:t>e</a:t>
            </a:r>
            <a:r>
              <a:rPr lang="en-US" dirty="0" smtClean="0"/>
              <a:t>)</a:t>
            </a:r>
          </a:p>
        </p:txBody>
      </p:sp>
      <p:pic>
        <p:nvPicPr>
          <p:cNvPr id="22530" name="Picture 2" descr="Image result for amtrak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2911" y="2573602"/>
            <a:ext cx="3772477" cy="3155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642103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Linear Trend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7300" y="1385474"/>
            <a:ext cx="5938837" cy="49867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585912" y="1100048"/>
            <a:ext cx="5929313" cy="64633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r>
              <a:rPr lang="en-US" dirty="0">
                <a:latin typeface="Courier New" pitchFamily="49" charset="0"/>
                <a:cs typeface="Courier New" pitchFamily="49" charset="0"/>
              </a:rPr>
              <a:t># produce linear trend model</a:t>
            </a:r>
          </a:p>
          <a:p>
            <a:r>
              <a:rPr lang="en-US" dirty="0" err="1">
                <a:latin typeface="Courier New" pitchFamily="49" charset="0"/>
                <a:cs typeface="Courier New" pitchFamily="49" charset="0"/>
              </a:rPr>
              <a:t>ridership.lm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 &lt;- </a:t>
            </a:r>
            <a:r>
              <a:rPr lang="en-US" dirty="0" err="1">
                <a:latin typeface="Courier New" pitchFamily="49" charset="0"/>
                <a:cs typeface="Courier New" pitchFamily="49" charset="0"/>
              </a:rPr>
              <a:t>tslm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dirty="0" err="1">
                <a:latin typeface="Courier New" pitchFamily="49" charset="0"/>
                <a:cs typeface="Courier New" pitchFamily="49" charset="0"/>
              </a:rPr>
              <a:t>ridership.ts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 ~ tren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)</a:t>
            </a:r>
            <a:endParaRPr lang="en-US" dirty="0"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133636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95300" y="1304925"/>
            <a:ext cx="8153400" cy="369332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rain.lm.pre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 &lt;- forecast(</a:t>
            </a:r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rain.lm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, h = </a:t>
            </a:r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nVali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, level = 0)</a:t>
            </a:r>
          </a:p>
        </p:txBody>
      </p:sp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8200" y="1952613"/>
            <a:ext cx="6858000" cy="2963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Linear Trend Predictions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1785938" y="4810112"/>
            <a:ext cx="4914900" cy="595313"/>
            <a:chOff x="935770" y="5053005"/>
            <a:chExt cx="7370030" cy="595313"/>
          </a:xfrm>
        </p:grpSpPr>
        <p:sp>
          <p:nvSpPr>
            <p:cNvPr id="10" name="Right Arrow 9"/>
            <p:cNvSpPr/>
            <p:nvPr/>
          </p:nvSpPr>
          <p:spPr>
            <a:xfrm>
              <a:off x="935770" y="5053005"/>
              <a:ext cx="735574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Training Data</a:t>
              </a:r>
              <a:endParaRPr lang="en-US" dirty="0"/>
            </a:p>
          </p:txBody>
        </p:sp>
        <p:sp>
          <p:nvSpPr>
            <p:cNvPr id="11" name="Right Arrow 10"/>
            <p:cNvSpPr/>
            <p:nvPr/>
          </p:nvSpPr>
          <p:spPr>
            <a:xfrm>
              <a:off x="6720387" y="5062530"/>
              <a:ext cx="1585413" cy="585788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Validation</a:t>
              </a:r>
              <a:endParaRPr lang="en-US" sz="1400" dirty="0"/>
            </a:p>
          </p:txBody>
        </p:sp>
      </p:grpSp>
      <p:sp>
        <p:nvSpPr>
          <p:cNvPr id="9" name="Right Arrow 8"/>
          <p:cNvSpPr/>
          <p:nvPr/>
        </p:nvSpPr>
        <p:spPr>
          <a:xfrm>
            <a:off x="6696076" y="4800596"/>
            <a:ext cx="1057275" cy="585788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smtClean="0"/>
              <a:t>True Unknown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5521513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ight Arrow 13"/>
          <p:cNvSpPr/>
          <p:nvPr/>
        </p:nvSpPr>
        <p:spPr>
          <a:xfrm>
            <a:off x="2126588" y="5955268"/>
            <a:ext cx="4890826" cy="30777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26587" y="5955268"/>
            <a:ext cx="48908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Times Series Data &gt; Forecast Methodology&gt; Future Valu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forecasting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13807" y="2074745"/>
            <a:ext cx="2108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ctual Time Seri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501152" y="2283424"/>
            <a:ext cx="1527537" cy="3618174"/>
            <a:chOff x="3501152" y="3007086"/>
            <a:chExt cx="1527537" cy="1470197"/>
          </a:xfrm>
        </p:grpSpPr>
        <p:sp>
          <p:nvSpPr>
            <p:cNvPr id="16" name="Chevron 15"/>
            <p:cNvSpPr/>
            <p:nvPr/>
          </p:nvSpPr>
          <p:spPr>
            <a:xfrm>
              <a:off x="350115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7" name="Chevron 16"/>
            <p:cNvSpPr/>
            <p:nvPr/>
          </p:nvSpPr>
          <p:spPr>
            <a:xfrm>
              <a:off x="4258593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8" name="Chevron 17"/>
            <p:cNvSpPr/>
            <p:nvPr/>
          </p:nvSpPr>
          <p:spPr>
            <a:xfrm>
              <a:off x="387987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pic>
        <p:nvPicPr>
          <p:cNvPr id="20" name="Picture 2" descr="C:\Users\n0232877\AppData\Local\Microsoft\Windows\Temporary Internet Files\Content.IE5\FRTMVNL1\R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4175" y="3394973"/>
            <a:ext cx="1363200" cy="1034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5451407" y="2134688"/>
            <a:ext cx="28221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uture Forecasted Values</a:t>
            </a:r>
          </a:p>
        </p:txBody>
      </p:sp>
      <p:pic>
        <p:nvPicPr>
          <p:cNvPr id="22533" name="Picture 5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073"/>
          <a:stretch/>
        </p:blipFill>
        <p:spPr bwMode="auto">
          <a:xfrm>
            <a:off x="5983885" y="2428875"/>
            <a:ext cx="1757159" cy="200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4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524" y="2402720"/>
            <a:ext cx="1866900" cy="171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0" name="Picture 1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2130" y="4298156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1" name="Picture 1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640" y="4309348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271463" y="1243004"/>
            <a:ext cx="8415337" cy="7143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Forecasting is the process of applying mathematical tools on time series </a:t>
            </a:r>
            <a:r>
              <a:rPr lang="en-US" dirty="0" smtClean="0"/>
              <a:t>data </a:t>
            </a:r>
            <a:r>
              <a:rPr lang="en-US" dirty="0"/>
              <a:t>to create future time series </a:t>
            </a:r>
            <a:r>
              <a:rPr lang="en-US" dirty="0" smtClean="0"/>
              <a:t>values, doesn’t have to explain the reason for observed chang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060127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Open 5_Ch17.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921448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onential Trend – like amazon’s revenue</a:t>
            </a:r>
          </a:p>
        </p:txBody>
      </p:sp>
      <p:sp>
        <p:nvSpPr>
          <p:cNvPr id="11267" name="Content Placeholder 2"/>
          <p:cNvSpPr>
            <a:spLocks noGrp="1"/>
          </p:cNvSpPr>
          <p:nvPr>
            <p:ph sz="quarter" idx="1"/>
          </p:nvPr>
        </p:nvSpPr>
        <p:spPr>
          <a:xfrm>
            <a:off x="600075" y="1181100"/>
            <a:ext cx="7772400" cy="42672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 smtClean="0"/>
              <a:t>Appropriate model when increase/decrease in series over time is multiplicative </a:t>
            </a:r>
          </a:p>
          <a:p>
            <a:pPr>
              <a:buFont typeface="Wingdings 2" pitchFamily="18" charset="2"/>
              <a:buNone/>
            </a:pPr>
            <a:endParaRPr lang="en-US" dirty="0" smtClean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Replace Y with log(Y) then fit linear regression</a:t>
            </a:r>
          </a:p>
          <a:p>
            <a:pPr>
              <a:buFont typeface="Wingdings 2" pitchFamily="18" charset="2"/>
              <a:buNone/>
            </a:pPr>
            <a:endParaRPr lang="en-US" dirty="0" smtClean="0"/>
          </a:p>
          <a:p>
            <a:pPr lvl="1">
              <a:buFont typeface="Wingdings 2" pitchFamily="18" charset="2"/>
              <a:buNone/>
            </a:pPr>
            <a:r>
              <a:rPr lang="en-US" i="1" dirty="0" smtClean="0"/>
              <a:t>log(Y</a:t>
            </a:r>
            <a:r>
              <a:rPr lang="en-US" i="1" baseline="-25000" dirty="0" smtClean="0"/>
              <a:t>i</a:t>
            </a:r>
            <a:r>
              <a:rPr lang="en-US" i="1" dirty="0" smtClean="0"/>
              <a:t>) = B</a:t>
            </a:r>
            <a:r>
              <a:rPr lang="en-US" i="1" baseline="-25000" dirty="0" smtClean="0"/>
              <a:t>0</a:t>
            </a:r>
            <a:r>
              <a:rPr lang="en-US" i="1" dirty="0" smtClean="0"/>
              <a:t> + B</a:t>
            </a:r>
            <a:r>
              <a:rPr lang="en-US" i="1" baseline="-25000" dirty="0" smtClean="0"/>
              <a:t>1</a:t>
            </a:r>
            <a:r>
              <a:rPr lang="en-US" i="1" dirty="0" smtClean="0"/>
              <a:t>t + e</a:t>
            </a:r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 lvl="1">
              <a:buFont typeface="Arial" charset="0"/>
              <a:buChar char="•"/>
            </a:pPr>
            <a:endParaRPr lang="en-US" dirty="0" smtClean="0"/>
          </a:p>
        </p:txBody>
      </p:sp>
      <p:sp>
        <p:nvSpPr>
          <p:cNvPr id="2" name="TextBox 1"/>
          <p:cNvSpPr txBox="1"/>
          <p:nvPr/>
        </p:nvSpPr>
        <p:spPr>
          <a:xfrm>
            <a:off x="3800475" y="6286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5363" y="2752724"/>
            <a:ext cx="3867150" cy="3267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77484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4795837" y="4138607"/>
            <a:ext cx="4033837" cy="814387"/>
          </a:xfrm>
          <a:prstGeom prst="rect">
            <a:avLst/>
          </a:prstGeom>
          <a:solidFill>
            <a:schemeClr val="accent5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786312" y="2714613"/>
            <a:ext cx="4129087" cy="814387"/>
          </a:xfrm>
          <a:prstGeom prst="rect">
            <a:avLst/>
          </a:prstGeom>
          <a:solidFill>
            <a:schemeClr val="accent5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entagon 13"/>
          <p:cNvSpPr/>
          <p:nvPr/>
        </p:nvSpPr>
        <p:spPr>
          <a:xfrm>
            <a:off x="614363" y="2728913"/>
            <a:ext cx="4386262" cy="800100"/>
          </a:xfrm>
          <a:prstGeom prst="homePlate">
            <a:avLst/>
          </a:prstGeom>
          <a:solidFill>
            <a:schemeClr val="bg1"/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tural Logs – not to har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612" y="1882866"/>
            <a:ext cx="2714625" cy="388841"/>
          </a:xfrm>
        </p:spPr>
        <p:txBody>
          <a:bodyPr/>
          <a:lstStyle/>
          <a:p>
            <a:r>
              <a:rPr lang="en-US" dirty="0" smtClean="0"/>
              <a:t>Where  “e” = ~2.718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52132" y="1243003"/>
            <a:ext cx="863973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u="sng" dirty="0" smtClean="0"/>
              <a:t>“e” raised what power equals the time series value</a:t>
            </a:r>
            <a:endParaRPr lang="en-US" sz="3200" u="sng" dirty="0"/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681038" y="2754870"/>
            <a:ext cx="2417328" cy="73866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Lucida Console" panose="020B0609040504020204" pitchFamily="49" charset="0"/>
              </a:rPr>
              <a:t>log(2) 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Lucida Console" panose="020B0609040504020204" pitchFamily="49" charset="0"/>
              </a:rPr>
              <a:t>[1] 0.6931472</a:t>
            </a:r>
            <a:endParaRPr kumimoji="0" lang="en-US" altLang="en-US" sz="4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Pentagon 14"/>
          <p:cNvSpPr/>
          <p:nvPr/>
        </p:nvSpPr>
        <p:spPr>
          <a:xfrm>
            <a:off x="581025" y="4124332"/>
            <a:ext cx="4386262" cy="800100"/>
          </a:xfrm>
          <a:prstGeom prst="homePlate">
            <a:avLst/>
          </a:prstGeom>
          <a:solidFill>
            <a:schemeClr val="bg1"/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661988" y="4178865"/>
            <a:ext cx="2231380" cy="73866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Lucida Console" panose="020B0609040504020204" pitchFamily="49" charset="0"/>
              </a:rPr>
              <a:t>log(13)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Lucida Console" panose="020B0609040504020204" pitchFamily="49" charset="0"/>
              </a:rPr>
              <a:t>[1] </a:t>
            </a:r>
            <a:r>
              <a:rPr lang="en-US" altLang="en-US" sz="2400" dirty="0">
                <a:solidFill>
                  <a:srgbClr val="000000"/>
                </a:solidFill>
                <a:latin typeface="Lucida Console" panose="020B0609040504020204" pitchFamily="49" charset="0"/>
              </a:rPr>
              <a:t>2.564949</a:t>
            </a:r>
            <a:endParaRPr lang="en-US" altLang="en-US" sz="4800" dirty="0">
              <a:latin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886451" y="2700325"/>
            <a:ext cx="196399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e^0.693  </a:t>
            </a:r>
          </a:p>
          <a:p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2.719</a:t>
            </a:r>
            <a:r>
              <a:rPr lang="en-US" baseline="30000" dirty="0" smtClean="0">
                <a:latin typeface="Consolas" panose="020B0609020204030204" pitchFamily="49" charset="0"/>
                <a:cs typeface="Consolas" panose="020B0609020204030204" pitchFamily="49" charset="0"/>
              </a:rPr>
              <a:t>(0.6931472) 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</a:p>
          <a:p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1.99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853114" y="4081450"/>
            <a:ext cx="221086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e^2.56949 </a:t>
            </a:r>
          </a:p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2.719(2.56949)  </a:t>
            </a:r>
          </a:p>
          <a:p>
            <a:r>
              <a:rPr lang="en-US" altLang="en-US" dirty="0">
                <a:latin typeface="Consolas" panose="020B0609020204030204" pitchFamily="49" charset="0"/>
                <a:cs typeface="Consolas" panose="020B0609020204030204" pitchFamily="49" charset="0"/>
              </a:rPr>
              <a:t>13.05568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14363" y="5486400"/>
            <a:ext cx="8229600" cy="45720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on’t worry, R handles with the log() funct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09052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onential trend - forecast errors</a:t>
            </a:r>
          </a:p>
        </p:txBody>
      </p:sp>
      <p:sp>
        <p:nvSpPr>
          <p:cNvPr id="12291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1600200"/>
            <a:ext cx="8305800" cy="41148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 smtClean="0"/>
              <a:t>Note that performance measures in standard linear regression software are not in original units </a:t>
            </a:r>
          </a:p>
          <a:p>
            <a:pPr>
              <a:buFont typeface="Wingdings 2" pitchFamily="18" charset="2"/>
              <a:buNone/>
            </a:pPr>
            <a:endParaRPr lang="en-US" b="1" dirty="0" smtClean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Model forecasts will be in the form log(</a:t>
            </a:r>
            <a:r>
              <a:rPr lang="en-US" b="1" i="1" dirty="0" smtClean="0"/>
              <a:t>Y</a:t>
            </a:r>
            <a:r>
              <a:rPr lang="en-US" b="1" dirty="0" smtClean="0"/>
              <a:t>)</a:t>
            </a:r>
          </a:p>
          <a:p>
            <a:pPr>
              <a:buFont typeface="Wingdings 2" pitchFamily="18" charset="2"/>
              <a:buNone/>
            </a:pPr>
            <a:endParaRPr lang="en-US" b="1" dirty="0" smtClean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Return to original units by taking exponent of model </a:t>
            </a:r>
            <a:r>
              <a:rPr lang="en-US" b="1" dirty="0" smtClean="0"/>
              <a:t>forecasts using the function </a:t>
            </a:r>
            <a:r>
              <a:rPr lang="en-US" b="1" dirty="0" err="1" smtClean="0"/>
              <a:t>exp</a:t>
            </a:r>
            <a:r>
              <a:rPr lang="en-US" b="1" dirty="0" smtClean="0"/>
              <a:t>()</a:t>
            </a:r>
            <a:endParaRPr lang="en-US" b="1" dirty="0" smtClean="0"/>
          </a:p>
          <a:p>
            <a:pPr>
              <a:buFont typeface="Wingdings 2" pitchFamily="18" charset="2"/>
              <a:buNone/>
            </a:pPr>
            <a:endParaRPr lang="en-US" b="1" dirty="0" smtClean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Calculate standard deviation of these forecast errors to get RMSE</a:t>
            </a:r>
          </a:p>
        </p:txBody>
      </p:sp>
    </p:spTree>
    <p:extLst>
      <p:ext uri="{BB962C8B-B14F-4D97-AF65-F5344CB8AC3E}">
        <p14:creationId xmlns:p14="http://schemas.microsoft.com/office/powerpoint/2010/main" val="149261013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Open 5_Ch17.R (AGAIN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831595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ther Trends Polynomial Trend	</a:t>
            </a:r>
          </a:p>
        </p:txBody>
      </p:sp>
      <p:sp>
        <p:nvSpPr>
          <p:cNvPr id="13315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1905000"/>
            <a:ext cx="7772400" cy="41148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smtClean="0"/>
              <a:t>Add additional predictors as appropriate</a:t>
            </a:r>
          </a:p>
          <a:p>
            <a:pPr>
              <a:buFont typeface="Wingdings 2" pitchFamily="18" charset="2"/>
              <a:buNone/>
            </a:pPr>
            <a:endParaRPr lang="en-US" b="1" smtClean="0"/>
          </a:p>
          <a:p>
            <a:pPr>
              <a:buFont typeface="Wingdings 2" pitchFamily="18" charset="2"/>
              <a:buNone/>
            </a:pPr>
            <a:r>
              <a:rPr lang="en-US" b="1" smtClean="0"/>
              <a:t>For example, for quadratic relationship add a t</a:t>
            </a:r>
            <a:r>
              <a:rPr lang="en-US" b="1" baseline="30000" smtClean="0"/>
              <a:t>2</a:t>
            </a:r>
            <a:r>
              <a:rPr lang="en-US" b="1" smtClean="0"/>
              <a:t> predictor</a:t>
            </a:r>
          </a:p>
          <a:p>
            <a:pPr>
              <a:buFont typeface="Wingdings 2" pitchFamily="18" charset="2"/>
              <a:buNone/>
            </a:pPr>
            <a:endParaRPr lang="en-US" b="1" smtClean="0"/>
          </a:p>
          <a:p>
            <a:pPr>
              <a:buFont typeface="Wingdings 2" pitchFamily="18" charset="2"/>
              <a:buNone/>
            </a:pPr>
            <a:r>
              <a:rPr lang="en-US" b="1" smtClean="0"/>
              <a:t>Fit linear regression using both t and t</a:t>
            </a:r>
            <a:r>
              <a:rPr lang="en-US" b="1" baseline="30000" smtClean="0"/>
              <a:t>2</a:t>
            </a:r>
            <a:endParaRPr lang="en-US" b="1" smtClean="0"/>
          </a:p>
        </p:txBody>
      </p:sp>
    </p:spTree>
    <p:extLst>
      <p:ext uri="{BB962C8B-B14F-4D97-AF65-F5344CB8AC3E}">
        <p14:creationId xmlns:p14="http://schemas.microsoft.com/office/powerpoint/2010/main" val="28381339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8650" y="2833689"/>
            <a:ext cx="7162800" cy="2745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/>
        </p:nvSpPr>
        <p:spPr>
          <a:xfrm>
            <a:off x="328612" y="1009650"/>
            <a:ext cx="81534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latin typeface="Courier New" pitchFamily="49" charset="0"/>
                <a:cs typeface="Courier New" pitchFamily="49" charset="0"/>
              </a:rPr>
              <a:t># fit quadratic trend using function I(), which treats an # object "as is".</a:t>
            </a:r>
          </a:p>
          <a:p>
            <a:endParaRPr lang="en-US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rain.lm.poly.tren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 &lt;- </a:t>
            </a:r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slm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rain.ts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 ~ trend + I(trend^2))</a:t>
            </a:r>
          </a:p>
          <a:p>
            <a:r>
              <a:rPr lang="en-US" dirty="0" smtClean="0">
                <a:latin typeface="Courier New" pitchFamily="49" charset="0"/>
                <a:cs typeface="Courier New" pitchFamily="49" charset="0"/>
              </a:rPr>
              <a:t>summary(</a:t>
            </a:r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rain.lm.poly.tren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)</a:t>
            </a:r>
          </a:p>
          <a:p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rain.lm.poly.trend.pre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 &lt;- forecast(</a:t>
            </a:r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rain.lm.poly.tren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, </a:t>
            </a:r>
          </a:p>
          <a:p>
            <a:r>
              <a:rPr lang="en-US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    h = </a:t>
            </a:r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nVali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, level = 0)</a:t>
            </a:r>
            <a:endParaRPr lang="en-US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Quadratic Trend</a:t>
            </a:r>
          </a:p>
        </p:txBody>
      </p:sp>
      <p:sp>
        <p:nvSpPr>
          <p:cNvPr id="2" name="Rectangle 1"/>
          <p:cNvSpPr/>
          <p:nvPr/>
        </p:nvSpPr>
        <p:spPr>
          <a:xfrm>
            <a:off x="557213" y="5743581"/>
            <a:ext cx="8058150" cy="4000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ue to time constraints, please review </a:t>
            </a:r>
            <a:r>
              <a:rPr lang="en-US" dirty="0" err="1" smtClean="0"/>
              <a:t>pg</a:t>
            </a:r>
            <a:r>
              <a:rPr lang="en-US" dirty="0" smtClean="0"/>
              <a:t> 408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100348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ndling Seasonality in Regres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664369" y="1214438"/>
            <a:ext cx="7815263" cy="471488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Just make dummy variables for seasons…but beware of multi-collinearity!</a:t>
            </a:r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0729816"/>
              </p:ext>
            </p:extLst>
          </p:nvPr>
        </p:nvGraphicFramePr>
        <p:xfrm>
          <a:off x="652462" y="1754183"/>
          <a:ext cx="2513458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7255"/>
                <a:gridCol w="891985"/>
                <a:gridCol w="724218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nt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idership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aso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Jan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70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Ja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Feb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62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eb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ar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97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ar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5450480"/>
              </p:ext>
            </p:extLst>
          </p:nvPr>
        </p:nvGraphicFramePr>
        <p:xfrm>
          <a:off x="609602" y="3382953"/>
          <a:ext cx="7534272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1784"/>
                <a:gridCol w="941784"/>
                <a:gridCol w="941784"/>
                <a:gridCol w="941784"/>
                <a:gridCol w="941784"/>
                <a:gridCol w="941784"/>
                <a:gridCol w="941784"/>
                <a:gridCol w="941784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nt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idership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as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Ja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e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ov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Jan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70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Ja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Feb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62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e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ar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97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.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.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.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Nov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67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ov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Dec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81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11" name="Elbow Connector 10"/>
          <p:cNvCxnSpPr/>
          <p:nvPr/>
        </p:nvCxnSpPr>
        <p:spPr>
          <a:xfrm rot="16200000" flipH="1">
            <a:off x="2836067" y="2464592"/>
            <a:ext cx="1014420" cy="628652"/>
          </a:xfrm>
          <a:prstGeom prst="bentConnector3">
            <a:avLst>
              <a:gd name="adj1" fmla="val 70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13"/>
          <p:cNvCxnSpPr/>
          <p:nvPr/>
        </p:nvCxnSpPr>
        <p:spPr>
          <a:xfrm>
            <a:off x="3043238" y="2686046"/>
            <a:ext cx="1628775" cy="600079"/>
          </a:xfrm>
          <a:prstGeom prst="bentConnector3">
            <a:avLst>
              <a:gd name="adj1" fmla="val 1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/>
          <p:cNvCxnSpPr/>
          <p:nvPr/>
        </p:nvCxnSpPr>
        <p:spPr>
          <a:xfrm>
            <a:off x="3043238" y="3057521"/>
            <a:ext cx="2557462" cy="257179"/>
          </a:xfrm>
          <a:prstGeom prst="bentConnector3">
            <a:avLst>
              <a:gd name="adj1" fmla="val 10027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642938" y="6029330"/>
            <a:ext cx="7958137" cy="2857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o avoid multi-collinearity, there is no Dec.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73525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Final model, Amtrak data</a:t>
            </a:r>
          </a:p>
        </p:txBody>
      </p:sp>
      <p:sp>
        <p:nvSpPr>
          <p:cNvPr id="20483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1752600"/>
            <a:ext cx="7772400" cy="30480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 smtClean="0"/>
              <a:t>Incorporates trend and seasonality</a:t>
            </a:r>
          </a:p>
          <a:p>
            <a:pPr>
              <a:buFont typeface="Wingdings 2" pitchFamily="18" charset="2"/>
              <a:buNone/>
            </a:pPr>
            <a:endParaRPr lang="en-US" dirty="0" smtClean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13 predictors </a:t>
            </a:r>
          </a:p>
          <a:p>
            <a:pPr lvl="1">
              <a:buFont typeface="Arial" charset="0"/>
              <a:buChar char="•"/>
            </a:pPr>
            <a:r>
              <a:rPr lang="en-US" dirty="0" smtClean="0"/>
              <a:t>11 monthly dummies</a:t>
            </a:r>
          </a:p>
          <a:p>
            <a:pPr lvl="1">
              <a:buFont typeface="Arial" charset="0"/>
              <a:buChar char="•"/>
            </a:pPr>
            <a:r>
              <a:rPr lang="en-US" dirty="0" smtClean="0"/>
              <a:t>t = trends</a:t>
            </a:r>
          </a:p>
          <a:p>
            <a:pPr lvl="1">
              <a:buFont typeface="Arial" charset="0"/>
              <a:buChar char="•"/>
            </a:pPr>
            <a:r>
              <a:rPr lang="en-US" dirty="0" smtClean="0"/>
              <a:t>t</a:t>
            </a:r>
            <a:r>
              <a:rPr lang="en-US" baseline="30000" dirty="0" smtClean="0"/>
              <a:t>2</a:t>
            </a:r>
            <a:r>
              <a:rPr lang="en-US" dirty="0" smtClean="0"/>
              <a:t>  = quadratic trend ( to get the positive and negative trend slopes)</a:t>
            </a:r>
          </a:p>
        </p:txBody>
      </p:sp>
      <p:sp>
        <p:nvSpPr>
          <p:cNvPr id="4" name="Rectangle 3"/>
          <p:cNvSpPr/>
          <p:nvPr/>
        </p:nvSpPr>
        <p:spPr>
          <a:xfrm>
            <a:off x="142875" y="5334000"/>
            <a:ext cx="8686799" cy="64633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>
            <a:spAutoFit/>
          </a:bodyPr>
          <a:lstStyle/>
          <a:p>
            <a:r>
              <a:rPr lang="en-US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train.lm.trend.season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 &lt;- </a:t>
            </a:r>
            <a:r>
              <a:rPr lang="en-US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tslm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en-US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train.ts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 ~ trend + </a:t>
            </a:r>
          </a:p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	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				I(trend^2) + season)</a:t>
            </a:r>
          </a:p>
        </p:txBody>
      </p:sp>
    </p:spTree>
    <p:extLst>
      <p:ext uri="{BB962C8B-B14F-4D97-AF65-F5344CB8AC3E}">
        <p14:creationId xmlns:p14="http://schemas.microsoft.com/office/powerpoint/2010/main" val="14189297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1450" y="365126"/>
            <a:ext cx="8343900" cy="591477"/>
          </a:xfrm>
        </p:spPr>
        <p:txBody>
          <a:bodyPr/>
          <a:lstStyle/>
          <a:p>
            <a:r>
              <a:rPr lang="en-US" dirty="0" smtClean="0"/>
              <a:t>Regression Based Forecasting is great for ev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0443383"/>
              </p:ext>
            </p:extLst>
          </p:nvPr>
        </p:nvGraphicFramePr>
        <p:xfrm>
          <a:off x="338137" y="1625591"/>
          <a:ext cx="8338790" cy="2727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7153"/>
                <a:gridCol w="1327153"/>
                <a:gridCol w="1020562"/>
                <a:gridCol w="640257"/>
                <a:gridCol w="475615"/>
                <a:gridCol w="514668"/>
                <a:gridCol w="483660"/>
                <a:gridCol w="506222"/>
                <a:gridCol w="1038961"/>
                <a:gridCol w="1004539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nt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idership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as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Ja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e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ov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ummer Prom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Holiday Promo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Jan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70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Ja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Feb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62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e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ar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97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.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Nov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67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ov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Dec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81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55137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B1BF93EB-721E-440E-B1E4-0F3176DDC3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7EABDFEA-2E8D-4355-A525-5076AD5FD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in Vs. Predi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E70CA59-1C1D-4B4E-8CB0-3562A01BF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AFC84E1-D2CB-4F12-96DE-2B79FDACA3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xmlns="" id="{7BED4843-F5A4-48C6-A2BC-D37A038D93CD}"/>
              </a:ext>
            </a:extLst>
          </p:cNvPr>
          <p:cNvSpPr txBox="1">
            <a:spLocks/>
          </p:cNvSpPr>
          <p:nvPr/>
        </p:nvSpPr>
        <p:spPr>
          <a:xfrm>
            <a:off x="685800" y="1347780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Explanation</a:t>
            </a:r>
            <a:r>
              <a:rPr lang="en-US" dirty="0"/>
              <a:t> is the goal of “time series </a:t>
            </a:r>
            <a:r>
              <a:rPr lang="en-US" b="1" dirty="0"/>
              <a:t>analysis</a:t>
            </a:r>
            <a:r>
              <a:rPr lang="en-US" dirty="0"/>
              <a:t>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based on causal argument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not “black-box</a:t>
            </a:r>
            <a:r>
              <a:rPr lang="en-US" dirty="0" smtClean="0"/>
              <a:t>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Example Explanations:</a:t>
            </a:r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 “The housing crisis reduced the expected bank revenue over a 2yr period”</a:t>
            </a:r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“Inclement weather negatively affected holiday shopping at Target.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Forecasting</a:t>
            </a:r>
            <a:r>
              <a:rPr lang="en-US" dirty="0"/>
              <a:t> (our focus) seeks to </a:t>
            </a:r>
            <a:r>
              <a:rPr lang="en-US" b="1" dirty="0"/>
              <a:t>predict</a:t>
            </a:r>
            <a:r>
              <a:rPr lang="en-US" dirty="0"/>
              <a:t> future </a:t>
            </a:r>
            <a:r>
              <a:rPr lang="en-US" dirty="0" smtClean="0"/>
              <a:t>values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Example </a:t>
            </a:r>
            <a:r>
              <a:rPr lang="en-US" dirty="0" smtClean="0"/>
              <a:t>outcomes:</a:t>
            </a: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 </a:t>
            </a:r>
            <a:r>
              <a:rPr lang="en-US" dirty="0" smtClean="0"/>
              <a:t>“Next quarter bank revenue is forecasted to rise to $</a:t>
            </a:r>
            <a:r>
              <a:rPr lang="en-US" b="1" u="sng" dirty="0" smtClean="0">
                <a:solidFill>
                  <a:schemeClr val="accent6"/>
                </a:solidFill>
              </a:rPr>
              <a:t>XYZ</a:t>
            </a:r>
            <a:r>
              <a:rPr lang="en-US" dirty="0" smtClean="0"/>
              <a:t>”</a:t>
            </a: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“Wal-Mart’s 3</a:t>
            </a:r>
            <a:r>
              <a:rPr lang="en-US" baseline="30000" dirty="0" smtClean="0"/>
              <a:t>rd</a:t>
            </a:r>
            <a:r>
              <a:rPr lang="en-US" dirty="0" smtClean="0"/>
              <a:t> quarter revenue will be $</a:t>
            </a:r>
            <a:r>
              <a:rPr lang="en-US" b="1" u="sng" dirty="0" smtClean="0">
                <a:solidFill>
                  <a:schemeClr val="accent6"/>
                </a:solidFill>
              </a:rPr>
              <a:t>130B</a:t>
            </a:r>
            <a:r>
              <a:rPr lang="en-US" dirty="0" smtClean="0"/>
              <a:t>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76005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itle 1"/>
          <p:cNvSpPr>
            <a:spLocks noGrp="1"/>
          </p:cNvSpPr>
          <p:nvPr>
            <p:ph type="title"/>
          </p:nvPr>
        </p:nvSpPr>
        <p:spPr>
          <a:xfrm>
            <a:off x="533400" y="274638"/>
            <a:ext cx="8153400" cy="868362"/>
          </a:xfrm>
        </p:spPr>
        <p:txBody>
          <a:bodyPr/>
          <a:lstStyle/>
          <a:p>
            <a:r>
              <a:rPr lang="en-US" sz="3200" smtClean="0"/>
              <a:t>Summary – Regression Based Forecasting</a:t>
            </a:r>
          </a:p>
        </p:txBody>
      </p:sp>
      <p:sp>
        <p:nvSpPr>
          <p:cNvPr id="36867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1752600"/>
            <a:ext cx="7772400" cy="4267200"/>
          </a:xfrm>
        </p:spPr>
        <p:txBody>
          <a:bodyPr/>
          <a:lstStyle/>
          <a:p>
            <a:r>
              <a:rPr lang="en-US" dirty="0" smtClean="0"/>
              <a:t>Can use linear regression for exponential models (use logs) and polynomials (exponentiation)</a:t>
            </a:r>
          </a:p>
          <a:p>
            <a:r>
              <a:rPr lang="en-US" dirty="0" smtClean="0"/>
              <a:t>For seasonality, use categorical variable (make dummies)</a:t>
            </a:r>
          </a:p>
          <a:p>
            <a:r>
              <a:rPr lang="en-US" dirty="0" smtClean="0"/>
              <a:t>For Events, use more dummy </a:t>
            </a:r>
            <a:r>
              <a:rPr lang="en-US" dirty="0" smtClean="0"/>
              <a:t>variables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2731781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6_TK_RegressionModel.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7056485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accent1"/>
                          </a:solidFill>
                        </a:rPr>
                        <a:t>Forecastin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Method 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Method 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Method 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Workforce Planning Examp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2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428526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IMA - Stationar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14338" y="1257211"/>
            <a:ext cx="82867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404B5A"/>
                </a:solidFill>
                <a:latin typeface="Avenir_Next_LT_Pro_Regular"/>
              </a:rPr>
              <a:t>Fitting an ARIMA model requires the series to be </a:t>
            </a:r>
            <a:r>
              <a:rPr lang="en-US" b="1" dirty="0">
                <a:solidFill>
                  <a:srgbClr val="404B5A"/>
                </a:solidFill>
                <a:latin typeface="Avenir_Next_LT_Pro_Regular"/>
              </a:rPr>
              <a:t>stationary</a:t>
            </a:r>
            <a:r>
              <a:rPr lang="en-US" dirty="0">
                <a:solidFill>
                  <a:srgbClr val="404B5A"/>
                </a:solidFill>
                <a:latin typeface="Avenir_Next_LT_Pro_Regular"/>
              </a:rPr>
              <a:t>. A series is said to be stationary when its mean, variance, and </a:t>
            </a:r>
            <a:r>
              <a:rPr lang="en-US" dirty="0" err="1">
                <a:solidFill>
                  <a:srgbClr val="404B5A"/>
                </a:solidFill>
                <a:latin typeface="Avenir_Next_LT_Pro_Regular"/>
              </a:rPr>
              <a:t>autocovariance</a:t>
            </a:r>
            <a:r>
              <a:rPr lang="en-US" dirty="0">
                <a:solidFill>
                  <a:srgbClr val="404B5A"/>
                </a:solidFill>
                <a:latin typeface="Avenir_Next_LT_Pro_Regular"/>
              </a:rPr>
              <a:t> are time invariant.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2025" y="2043112"/>
            <a:ext cx="7134225" cy="357187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914400" y="5472113"/>
            <a:ext cx="7472363" cy="5143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/>
              <a:t>More simply non-stationary means the </a:t>
            </a:r>
            <a:r>
              <a:rPr lang="en-US" sz="2000" dirty="0"/>
              <a:t>average </a:t>
            </a:r>
            <a:r>
              <a:rPr lang="en-US" sz="2000" dirty="0" smtClean="0"/>
              <a:t>values change </a:t>
            </a:r>
            <a:r>
              <a:rPr lang="en-US" sz="2000" dirty="0"/>
              <a:t>through time, levels change, etc.</a:t>
            </a:r>
          </a:p>
        </p:txBody>
      </p:sp>
    </p:spTree>
    <p:extLst>
      <p:ext uri="{BB962C8B-B14F-4D97-AF65-F5344CB8AC3E}">
        <p14:creationId xmlns:p14="http://schemas.microsoft.com/office/powerpoint/2010/main" val="342770285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956603"/>
          </a:xfrm>
        </p:spPr>
        <p:txBody>
          <a:bodyPr/>
          <a:lstStyle/>
          <a:p>
            <a:r>
              <a:rPr lang="en-US" dirty="0" smtClean="0"/>
              <a:t>Auto Regressive Integrated Moving </a:t>
            </a:r>
            <a:r>
              <a:rPr lang="en-US" dirty="0" smtClean="0"/>
              <a:t>Averages</a:t>
            </a:r>
            <a:br>
              <a:rPr lang="en-US" dirty="0" smtClean="0"/>
            </a:br>
            <a:r>
              <a:rPr lang="en-US" dirty="0" smtClean="0"/>
              <a:t>ARIMA </a:t>
            </a:r>
            <a:r>
              <a:rPr lang="en-US" dirty="0"/>
              <a:t>Analogy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23875" y="1104900"/>
            <a:ext cx="55451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Arima</a:t>
            </a:r>
            <a:r>
              <a:rPr lang="en-US" dirty="0"/>
              <a:t> forecasts using a combination of p, d, q input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05617" y="3148755"/>
            <a:ext cx="325765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s a tire rolls across a bumpy road, one can adjust the tread, air pressure, and diameter to get the smoothest ride.  ARIMA adjust these inputs to get a close fit to the bumpy road.  Think of these inputs as similar to the PDQ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4736306" y="2053631"/>
            <a:ext cx="4067175" cy="3917157"/>
            <a:chOff x="3952875" y="2663231"/>
            <a:chExt cx="4067175" cy="3917157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2875" y="2663231"/>
              <a:ext cx="4067175" cy="39171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8" name="Group 7"/>
            <p:cNvGrpSpPr/>
            <p:nvPr/>
          </p:nvGrpSpPr>
          <p:grpSpPr>
            <a:xfrm>
              <a:off x="4217193" y="5298280"/>
              <a:ext cx="519113" cy="519113"/>
              <a:chOff x="1000125" y="3476625"/>
              <a:chExt cx="1038225" cy="1038225"/>
            </a:xfrm>
          </p:grpSpPr>
          <p:sp>
            <p:nvSpPr>
              <p:cNvPr id="6" name="Oval 5"/>
              <p:cNvSpPr/>
              <p:nvPr/>
            </p:nvSpPr>
            <p:spPr>
              <a:xfrm>
                <a:off x="1000125" y="3476625"/>
                <a:ext cx="1038225" cy="1038225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Oval 6"/>
              <p:cNvSpPr/>
              <p:nvPr/>
            </p:nvSpPr>
            <p:spPr>
              <a:xfrm>
                <a:off x="1328737" y="3805237"/>
                <a:ext cx="381000" cy="381000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5822155" y="4226524"/>
              <a:ext cx="790572" cy="790572"/>
              <a:chOff x="1000125" y="3476625"/>
              <a:chExt cx="1038225" cy="1038225"/>
            </a:xfrm>
          </p:grpSpPr>
          <p:sp>
            <p:nvSpPr>
              <p:cNvPr id="10" name="Oval 9"/>
              <p:cNvSpPr/>
              <p:nvPr/>
            </p:nvSpPr>
            <p:spPr>
              <a:xfrm>
                <a:off x="1000125" y="3476625"/>
                <a:ext cx="1038225" cy="1038225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/>
              <p:cNvSpPr/>
              <p:nvPr/>
            </p:nvSpPr>
            <p:spPr>
              <a:xfrm>
                <a:off x="1328737" y="3805237"/>
                <a:ext cx="381000" cy="381000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/>
            <p:cNvGrpSpPr/>
            <p:nvPr/>
          </p:nvGrpSpPr>
          <p:grpSpPr>
            <a:xfrm>
              <a:off x="5232797" y="5474491"/>
              <a:ext cx="259556" cy="259556"/>
              <a:chOff x="1000125" y="3476625"/>
              <a:chExt cx="1038225" cy="1038225"/>
            </a:xfrm>
          </p:grpSpPr>
          <p:sp>
            <p:nvSpPr>
              <p:cNvPr id="21" name="Oval 20"/>
              <p:cNvSpPr/>
              <p:nvPr/>
            </p:nvSpPr>
            <p:spPr>
              <a:xfrm>
                <a:off x="1000125" y="3476625"/>
                <a:ext cx="1038225" cy="1038225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Oval 21"/>
              <p:cNvSpPr/>
              <p:nvPr/>
            </p:nvSpPr>
            <p:spPr>
              <a:xfrm>
                <a:off x="1328737" y="3805237"/>
                <a:ext cx="381000" cy="381000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24" name="Straight Arrow Connector 23"/>
            <p:cNvCxnSpPr>
              <a:stCxn id="6" idx="7"/>
              <a:endCxn id="21" idx="2"/>
            </p:cNvCxnSpPr>
            <p:nvPr/>
          </p:nvCxnSpPr>
          <p:spPr>
            <a:xfrm>
              <a:off x="4660284" y="5374302"/>
              <a:ext cx="572513" cy="229967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/>
            <p:cNvCxnSpPr>
              <a:stCxn id="21" idx="6"/>
            </p:cNvCxnSpPr>
            <p:nvPr/>
          </p:nvCxnSpPr>
          <p:spPr>
            <a:xfrm flipV="1">
              <a:off x="5492353" y="4766870"/>
              <a:ext cx="329802" cy="837399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ectangle 2"/>
          <p:cNvSpPr>
            <a:spLocks noChangeArrowheads="1"/>
          </p:cNvSpPr>
          <p:nvPr/>
        </p:nvSpPr>
        <p:spPr bwMode="auto">
          <a:xfrm>
            <a:off x="523875" y="1474232"/>
            <a:ext cx="3209925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p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 is the number of autoregressive term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d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 is the number of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nonseasonal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 differences, and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q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 is the number of lagged forecast errors in the prediction equation </a:t>
            </a:r>
          </a:p>
        </p:txBody>
      </p:sp>
      <p:sp>
        <p:nvSpPr>
          <p:cNvPr id="34" name="Rectangle 33"/>
          <p:cNvSpPr/>
          <p:nvPr/>
        </p:nvSpPr>
        <p:spPr>
          <a:xfrm>
            <a:off x="523875" y="2423220"/>
            <a:ext cx="34959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/>
              <a:t>Good Reference: </a:t>
            </a:r>
            <a:endParaRPr lang="en-US" sz="1400" dirty="0">
              <a:hlinkClick r:id="rId3"/>
            </a:endParaRPr>
          </a:p>
          <a:p>
            <a:r>
              <a:rPr lang="en-US" sz="1400" dirty="0">
                <a:hlinkClick r:id="rId3"/>
              </a:rPr>
              <a:t>http://people.duke.edu/~rnau/411arim.htm</a:t>
            </a:r>
            <a:endParaRPr lang="en-US" sz="1400" dirty="0"/>
          </a:p>
        </p:txBody>
      </p:sp>
      <p:sp>
        <p:nvSpPr>
          <p:cNvPr id="3" name="Rectangle 2"/>
          <p:cNvSpPr/>
          <p:nvPr/>
        </p:nvSpPr>
        <p:spPr>
          <a:xfrm>
            <a:off x="671512" y="5500687"/>
            <a:ext cx="3186113" cy="6429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Auto.arima</a:t>
            </a:r>
            <a:r>
              <a:rPr lang="en-US" sz="1400" dirty="0" smtClean="0"/>
              <a:t>() will adjust lags and p/d/q to extract more of the auto correlation (information shared between rows)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592010700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3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Pract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874395" y="1593914"/>
            <a:ext cx="30670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u="sng" dirty="0" smtClean="0"/>
              <a:t>7_autoArima_AMZN.R</a:t>
            </a:r>
            <a:endParaRPr lang="en-US" sz="2400" b="1" u="sng" dirty="0"/>
          </a:p>
        </p:txBody>
      </p:sp>
    </p:spTree>
    <p:extLst>
      <p:ext uri="{BB962C8B-B14F-4D97-AF65-F5344CB8AC3E}">
        <p14:creationId xmlns:p14="http://schemas.microsoft.com/office/powerpoint/2010/main" val="2494933953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>
          <a:xfrm>
            <a:off x="142875" y="365126"/>
            <a:ext cx="8772525" cy="591477"/>
          </a:xfrm>
        </p:spPr>
        <p:txBody>
          <a:bodyPr/>
          <a:lstStyle/>
          <a:p>
            <a:r>
              <a:rPr lang="en-US" dirty="0" smtClean="0"/>
              <a:t>Before you Embark on Forecasting - Random walks	</a:t>
            </a:r>
          </a:p>
        </p:txBody>
      </p:sp>
      <p:sp>
        <p:nvSpPr>
          <p:cNvPr id="35843" name="Content Placeholder 2"/>
          <p:cNvSpPr>
            <a:spLocks noGrp="1"/>
          </p:cNvSpPr>
          <p:nvPr>
            <p:ph sz="quarter" idx="1"/>
          </p:nvPr>
        </p:nvSpPr>
        <p:spPr>
          <a:xfrm>
            <a:off x="200025" y="1111347"/>
            <a:ext cx="8715375" cy="731741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2800" dirty="0" smtClean="0"/>
              <a:t>Before forecasting, consider “is the time series predictable or is it a random walk?</a:t>
            </a:r>
          </a:p>
        </p:txBody>
      </p:sp>
      <p:pic>
        <p:nvPicPr>
          <p:cNvPr id="26626" name="Picture 2" descr="Image result for random walk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179" y="2214562"/>
            <a:ext cx="3441584" cy="4071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0" y="2557462"/>
            <a:ext cx="534352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/>
              <a:t>When </a:t>
            </a:r>
            <a:r>
              <a:rPr lang="en-US" sz="2400" dirty="0"/>
              <a:t>we do any forecasting first try to do an AR(1) </a:t>
            </a:r>
            <a:r>
              <a:rPr lang="en-US" sz="2400" dirty="0" smtClean="0"/>
              <a:t>model.</a:t>
            </a:r>
          </a:p>
          <a:p>
            <a:endParaRPr lang="en-US" dirty="0"/>
          </a:p>
          <a:p>
            <a:endParaRPr lang="en-US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Test </a:t>
            </a:r>
            <a:r>
              <a:rPr lang="en-US" dirty="0"/>
              <a:t>that slope = 1 in an AR(1) model (i.e. that the forecast for a period is the most recently-observed value</a:t>
            </a:r>
            <a:r>
              <a:rPr lang="en-US" dirty="0" smtClean="0"/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If the beta coefficient has a small p-value then the values are predictable and you should do a forecast (not a random walk)</a:t>
            </a:r>
            <a:endParaRPr lang="en-US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428625" y="1900238"/>
            <a:ext cx="828675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85147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5F2C3887-5370-461B-9723-FA8FB02B54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79452733-36AC-40C0-A10C-890FD418D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ata inside the time series data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04AF1B6-DEDE-4ECF-96D8-2BA98C5E8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E3C4817-070D-4782-935E-C73E380E1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xmlns="" id="{4523FFBD-8391-4A87-80CE-BABAEAA54264}"/>
              </a:ext>
            </a:extLst>
          </p:cNvPr>
          <p:cNvSpPr txBox="1">
            <a:spLocks/>
          </p:cNvSpPr>
          <p:nvPr/>
        </p:nvSpPr>
        <p:spPr>
          <a:xfrm>
            <a:off x="628650" y="1526263"/>
            <a:ext cx="8129588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 smtClean="0"/>
              <a:t>Level </a:t>
            </a:r>
            <a:r>
              <a:rPr lang="en-US" dirty="0" smtClean="0"/>
              <a:t>– an average of the observations “steady state”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Trend </a:t>
            </a:r>
            <a:r>
              <a:rPr lang="en-US" dirty="0" smtClean="0"/>
              <a:t>– are values increasing, decreasing or stationary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Seasonality </a:t>
            </a:r>
            <a:r>
              <a:rPr lang="en-US" dirty="0" smtClean="0"/>
              <a:t>– is there a repeating pattern in the periodicity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Noise – </a:t>
            </a:r>
            <a:r>
              <a:rPr lang="en-US" dirty="0" smtClean="0"/>
              <a:t>unexplained values or “residuals” from adding “trend”, “seasonality” and “level” together.  Basically its what left, and unaccounted for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797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</a:t>
            </a:r>
            <a:r>
              <a:rPr lang="en-US" dirty="0" smtClean="0"/>
              <a:t>Actual Rider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09878E9-7B9E-4E44-B365-5CC9BC94906B}"/>
              </a:ext>
            </a:extLst>
          </p:cNvPr>
          <p:cNvSpPr txBox="1"/>
          <p:nvPr/>
        </p:nvSpPr>
        <p:spPr>
          <a:xfrm>
            <a:off x="5472569" y="1828798"/>
            <a:ext cx="147027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Level</a:t>
            </a:r>
            <a:r>
              <a:rPr lang="en-US" dirty="0"/>
              <a:t>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Trend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Seasonality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849" y="1396638"/>
            <a:ext cx="4955629" cy="4581619"/>
          </a:xfrm>
          <a:prstGeom prst="rect">
            <a:avLst/>
          </a:prstGeom>
        </p:spPr>
      </p:pic>
      <p:pic>
        <p:nvPicPr>
          <p:cNvPr id="14338" name="Picture 2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6536" y="3090864"/>
            <a:ext cx="2848801" cy="249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5429251" y="1428751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What do we observe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653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610</TotalTime>
  <Words>3410</Words>
  <Application>Microsoft Office PowerPoint</Application>
  <PresentationFormat>On-screen Show (4:3)</PresentationFormat>
  <Paragraphs>938</Paragraphs>
  <Slides>76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6</vt:i4>
      </vt:variant>
    </vt:vector>
  </HeadingPairs>
  <TitlesOfParts>
    <vt:vector size="87" baseType="lpstr">
      <vt:lpstr>Arial</vt:lpstr>
      <vt:lpstr>Avenir_Next_LT_Pro_Regular</vt:lpstr>
      <vt:lpstr>Calibri</vt:lpstr>
      <vt:lpstr>Calibri Light</vt:lpstr>
      <vt:lpstr>Cambria Math</vt:lpstr>
      <vt:lpstr>Consolas</vt:lpstr>
      <vt:lpstr>Courier New</vt:lpstr>
      <vt:lpstr>Lucida Console</vt:lpstr>
      <vt:lpstr>Wingdings 2</vt:lpstr>
      <vt:lpstr>Office Theme</vt:lpstr>
      <vt:lpstr>think-cell Slide</vt:lpstr>
      <vt:lpstr>Forecasting</vt:lpstr>
      <vt:lpstr>Agenda</vt:lpstr>
      <vt:lpstr>Main ideas</vt:lpstr>
      <vt:lpstr>Difference between ML Data Setup &amp; Time Series Data</vt:lpstr>
      <vt:lpstr>Difference between ML Data Setup &amp; Time Series Data</vt:lpstr>
      <vt:lpstr>What is forecasting?</vt:lpstr>
      <vt:lpstr>Explain Vs. Predict</vt:lpstr>
      <vt:lpstr>The data inside the time series data</vt:lpstr>
      <vt:lpstr>Amtrak Actual Riders</vt:lpstr>
      <vt:lpstr>Monthly Amtrak Ridership</vt:lpstr>
      <vt:lpstr>Amtrak Actuals</vt:lpstr>
      <vt:lpstr>Amtrak Actuals</vt:lpstr>
      <vt:lpstr>Amtrak Actuals</vt:lpstr>
      <vt:lpstr>Zoom to 3 years (1997-1999)</vt:lpstr>
      <vt:lpstr>PowerPoint Presentation</vt:lpstr>
      <vt:lpstr>Open 1_amtrak.R</vt:lpstr>
      <vt:lpstr>Machine Learning Partitioning </vt:lpstr>
      <vt:lpstr>Time Series Partitioning is not random</vt:lpstr>
      <vt:lpstr>Summary </vt:lpstr>
      <vt:lpstr>What types of business problems can be forecasted?</vt:lpstr>
      <vt:lpstr>What types of business problems can be forecasted?</vt:lpstr>
      <vt:lpstr>Open 1_getRevenueData.R</vt:lpstr>
      <vt:lpstr>Inspecting meta data.</vt:lpstr>
      <vt:lpstr>Inspecting meta data.</vt:lpstr>
      <vt:lpstr>Inspecting meta data.</vt:lpstr>
      <vt:lpstr>Agenda</vt:lpstr>
      <vt:lpstr>5 Common Methods</vt:lpstr>
      <vt:lpstr>4 Methods of Naïve Forecasting</vt:lpstr>
      <vt:lpstr>Naïve Forecast - Mean</vt:lpstr>
      <vt:lpstr>Naïve Forecast - Drift</vt:lpstr>
      <vt:lpstr>Naïve Forecast - Drift</vt:lpstr>
      <vt:lpstr>Naïve Forecast – Naïve (true)</vt:lpstr>
      <vt:lpstr>Naïve Forecast – Naïve Seasonal</vt:lpstr>
      <vt:lpstr>Shaded Forecast Area?</vt:lpstr>
      <vt:lpstr>Shaded Forecast Area?</vt:lpstr>
      <vt:lpstr>Shaded Forecast Area?</vt:lpstr>
      <vt:lpstr>Open 2_NaiveNike.R</vt:lpstr>
      <vt:lpstr>Agenda</vt:lpstr>
      <vt:lpstr>Time Series Decomposition</vt:lpstr>
      <vt:lpstr>Time Series Decomposition</vt:lpstr>
      <vt:lpstr>Time Series Decomposition</vt:lpstr>
      <vt:lpstr>Time Series Decomposition</vt:lpstr>
      <vt:lpstr>Seasonal Adjustment</vt:lpstr>
      <vt:lpstr>Summary – Time Series Decomposition</vt:lpstr>
      <vt:lpstr>Open 3_TimeSeriesDecompositionAMZN.R</vt:lpstr>
      <vt:lpstr>Agenda</vt:lpstr>
      <vt:lpstr>But first averages…</vt:lpstr>
      <vt:lpstr>But first averages…</vt:lpstr>
      <vt:lpstr>But first averages…</vt:lpstr>
      <vt:lpstr>But first averages…</vt:lpstr>
      <vt:lpstr>But first averages…</vt:lpstr>
      <vt:lpstr>But first averages…</vt:lpstr>
      <vt:lpstr>Holt Winters</vt:lpstr>
      <vt:lpstr>Review: Two  Popular Forecast KPIs</vt:lpstr>
      <vt:lpstr>Open 4_HoltWintersWMT.R</vt:lpstr>
      <vt:lpstr>Agenda</vt:lpstr>
      <vt:lpstr>Regression Based Forecasting</vt:lpstr>
      <vt:lpstr>Time Series Linear Trend</vt:lpstr>
      <vt:lpstr>PowerPoint Presentation</vt:lpstr>
      <vt:lpstr>PowerPoint Presentation</vt:lpstr>
      <vt:lpstr>Exponential Trend – like amazon’s revenue</vt:lpstr>
      <vt:lpstr>Natural Logs – not to hard</vt:lpstr>
      <vt:lpstr>Exponential trend - forecast errors</vt:lpstr>
      <vt:lpstr>PowerPoint Presentation</vt:lpstr>
      <vt:lpstr>Other Trends Polynomial Trend </vt:lpstr>
      <vt:lpstr>PowerPoint Presentation</vt:lpstr>
      <vt:lpstr>Handling Seasonality in Regression</vt:lpstr>
      <vt:lpstr>Final model, Amtrak data</vt:lpstr>
      <vt:lpstr>Regression Based Forecasting is great for events</vt:lpstr>
      <vt:lpstr>Summary – Regression Based Forecasting</vt:lpstr>
      <vt:lpstr>Open 6_TK_RegressionModel.R</vt:lpstr>
      <vt:lpstr>Agenda</vt:lpstr>
      <vt:lpstr>ARIMA - Stationary</vt:lpstr>
      <vt:lpstr>Auto Regressive Integrated Moving Averages ARIMA Analogy</vt:lpstr>
      <vt:lpstr>Let’s Practice</vt:lpstr>
      <vt:lpstr>Before you Embark on Forecasting - Random walks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dward Kwartler</dc:creator>
  <cp:lastModifiedBy>Edward Kwartler</cp:lastModifiedBy>
  <cp:revision>137</cp:revision>
  <dcterms:created xsi:type="dcterms:W3CDTF">2018-05-11T14:06:45Z</dcterms:created>
  <dcterms:modified xsi:type="dcterms:W3CDTF">2018-07-23T04:33:35Z</dcterms:modified>
</cp:coreProperties>
</file>